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5" r:id="rId4"/>
  </p:sldMasterIdLst>
  <p:notesMasterIdLst>
    <p:notesMasterId r:id="rId43"/>
  </p:notesMasterIdLst>
  <p:sldIdLst>
    <p:sldId id="3187" r:id="rId5"/>
    <p:sldId id="3129" r:id="rId6"/>
    <p:sldId id="3100" r:id="rId7"/>
    <p:sldId id="3132" r:id="rId8"/>
    <p:sldId id="3210" r:id="rId9"/>
    <p:sldId id="3206" r:id="rId10"/>
    <p:sldId id="3189" r:id="rId11"/>
    <p:sldId id="3101" r:id="rId12"/>
    <p:sldId id="3190" r:id="rId13"/>
    <p:sldId id="3134" r:id="rId14"/>
    <p:sldId id="3207" r:id="rId15"/>
    <p:sldId id="3183" r:id="rId16"/>
    <p:sldId id="3196" r:id="rId17"/>
    <p:sldId id="3175" r:id="rId18"/>
    <p:sldId id="3144" r:id="rId19"/>
    <p:sldId id="3145" r:id="rId20"/>
    <p:sldId id="3146" r:id="rId21"/>
    <p:sldId id="3135" r:id="rId22"/>
    <p:sldId id="3191" r:id="rId23"/>
    <p:sldId id="3193" r:id="rId24"/>
    <p:sldId id="3194" r:id="rId25"/>
    <p:sldId id="3212" r:id="rId26"/>
    <p:sldId id="3165" r:id="rId27"/>
    <p:sldId id="3137" r:id="rId28"/>
    <p:sldId id="3138" r:id="rId29"/>
    <p:sldId id="3158" r:id="rId30"/>
    <p:sldId id="3148" r:id="rId31"/>
    <p:sldId id="3163" r:id="rId32"/>
    <p:sldId id="3208" r:id="rId33"/>
    <p:sldId id="3216" r:id="rId34"/>
    <p:sldId id="3213" r:id="rId35"/>
    <p:sldId id="3215" r:id="rId36"/>
    <p:sldId id="3147" r:id="rId37"/>
    <p:sldId id="3214" r:id="rId38"/>
    <p:sldId id="3209" r:id="rId39"/>
    <p:sldId id="3217" r:id="rId40"/>
    <p:sldId id="3218" r:id="rId41"/>
    <p:sldId id="3219" r:id="rId42"/>
  </p:sldIdLst>
  <p:sldSz cx="9906000" cy="6858000" type="A4"/>
  <p:notesSz cx="6807200" cy="9939338"/>
  <p:embeddedFontLst>
    <p:embeddedFont>
      <p:font typeface="굴림" panose="020B0600000101010101" pitchFamily="34" charset="-127"/>
      <p:regular r:id="rId44"/>
    </p:embeddedFont>
    <p:embeddedFont>
      <p:font typeface="맑은 고딕" panose="020B0503020000020004" pitchFamily="34" charset="-127"/>
      <p:regular r:id="rId45"/>
      <p:bold r:id="rId46"/>
    </p:embeddedFont>
    <p:embeddedFont>
      <p:font typeface="Arial Narrow" panose="020B0606020202030204" pitchFamily="34" charset="0"/>
      <p:regular r:id="rId47"/>
      <p:bold r:id="rId48"/>
      <p:italic r:id="rId49"/>
      <p:boldItalic r:id="rId50"/>
    </p:embeddedFont>
    <p:embeddedFont>
      <p:font typeface="Calibri" panose="020F0502020204030204" pitchFamily="34" charset="0"/>
      <p:regular r:id="rId51"/>
      <p:bold r:id="rId52"/>
      <p:italic r:id="rId53"/>
      <p:boldItalic r:id="rId54"/>
    </p:embeddedFont>
    <p:embeddedFont>
      <p:font typeface="LG스마트체 Bold" panose="020B0600000101010101" pitchFamily="34" charset="-127"/>
      <p:bold r:id="rId55"/>
    </p:embeddedFont>
    <p:embeddedFont>
      <p:font typeface="LG스마트체 Regular" panose="020B0600000101010101" pitchFamily="34" charset="-127"/>
      <p:regular r:id="rId56"/>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기본 구역" id="{629DC882-36D9-49FC-829C-C81FACC338CE}">
          <p14:sldIdLst>
            <p14:sldId id="3187"/>
          </p14:sldIdLst>
        </p14:section>
        <p14:section name="제목 없는 구역" id="{DB42875F-8672-41EF-83DF-7E34017996B2}">
          <p14:sldIdLst>
            <p14:sldId id="3129"/>
            <p14:sldId id="3100"/>
            <p14:sldId id="3132"/>
            <p14:sldId id="3210"/>
            <p14:sldId id="3206"/>
            <p14:sldId id="3189"/>
            <p14:sldId id="3101"/>
            <p14:sldId id="3190"/>
            <p14:sldId id="3134"/>
            <p14:sldId id="3207"/>
            <p14:sldId id="3183"/>
            <p14:sldId id="3196"/>
            <p14:sldId id="3175"/>
            <p14:sldId id="3144"/>
            <p14:sldId id="3145"/>
            <p14:sldId id="3146"/>
            <p14:sldId id="3135"/>
            <p14:sldId id="3191"/>
            <p14:sldId id="3193"/>
            <p14:sldId id="3194"/>
            <p14:sldId id="3212"/>
            <p14:sldId id="3165"/>
            <p14:sldId id="3137"/>
            <p14:sldId id="3138"/>
            <p14:sldId id="3158"/>
            <p14:sldId id="3148"/>
            <p14:sldId id="3163"/>
            <p14:sldId id="3208"/>
            <p14:sldId id="3216"/>
            <p14:sldId id="3213"/>
            <p14:sldId id="3215"/>
            <p14:sldId id="3147"/>
            <p14:sldId id="3214"/>
            <p14:sldId id="3209"/>
            <p14:sldId id="3217"/>
            <p14:sldId id="3218"/>
            <p14:sldId id="321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장 건국" initials="장건" lastIdx="1" clrIdx="0">
    <p:extLst>
      <p:ext uri="{19B8F6BF-5375-455C-9EA6-DF929625EA0E}">
        <p15:presenceInfo xmlns:p15="http://schemas.microsoft.com/office/powerpoint/2012/main" userId="S::ggjang01@DreamOn.onmicrosoft.com::f8f5fab2-bb58-416c-8d8e-27bf3512efd9" providerId="AD"/>
      </p:ext>
    </p:extLst>
  </p:cmAuthor>
  <p:cmAuthor id="2" name="류보미/선임/CAC엔지니어링솔루션팀(bomi.ryu@lge.com)" initials="류" lastIdx="1" clrIdx="1">
    <p:extLst>
      <p:ext uri="{19B8F6BF-5375-455C-9EA6-DF929625EA0E}">
        <p15:presenceInfo xmlns:p15="http://schemas.microsoft.com/office/powerpoint/2012/main" userId="S-1-5-21-2543426832-1914326140-3112152631-19589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3838"/>
    <a:srgbClr val="35BD8E"/>
    <a:srgbClr val="FF9A05"/>
    <a:srgbClr val="F2F2F2"/>
    <a:srgbClr val="404040"/>
    <a:srgbClr val="000000"/>
    <a:srgbClr val="F1F1F1"/>
    <a:srgbClr val="9B0D41"/>
    <a:srgbClr val="F92763"/>
    <a:srgbClr val="151F2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14" autoAdjust="0"/>
    <p:restoredTop sz="95118" autoAdjust="0"/>
  </p:normalViewPr>
  <p:slideViewPr>
    <p:cSldViewPr snapToGrid="0">
      <p:cViewPr varScale="1">
        <p:scale>
          <a:sx n="108" d="100"/>
          <a:sy n="108" d="100"/>
        </p:scale>
        <p:origin x="1170" y="108"/>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278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font" Target="fonts/font13.fntdata"/><Relationship Id="rId8" Type="http://schemas.openxmlformats.org/officeDocument/2006/relationships/slide" Target="slides/slide4.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D9647B6B-255D-481B-9BB4-58603E9AD72C}" type="datetimeFigureOut">
              <a:rPr lang="ko-KR" altLang="en-US" smtClean="0"/>
              <a:t>2023-01-06</a:t>
            </a:fld>
            <a:endParaRPr lang="ko-KR" altLang="en-US"/>
          </a:p>
        </p:txBody>
      </p:sp>
      <p:sp>
        <p:nvSpPr>
          <p:cNvPr id="4" name="슬라이드 이미지 개체 틀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6" name="바닥글 개체 틀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9CEF08FF-B3C2-4D33-84E5-23C2DFEE8C2D}" type="slidenum">
              <a:rPr lang="ko-KR" altLang="en-US" smtClean="0"/>
              <a:t>‹#›</a:t>
            </a:fld>
            <a:endParaRPr lang="ko-KR" altLang="en-US"/>
          </a:p>
        </p:txBody>
      </p:sp>
    </p:spTree>
    <p:extLst>
      <p:ext uri="{BB962C8B-B14F-4D97-AF65-F5344CB8AC3E}">
        <p14:creationId xmlns:p14="http://schemas.microsoft.com/office/powerpoint/2010/main" val="314637953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a:t>
            </a:fld>
            <a:endParaRPr lang="ko-KR" altLang="en-US"/>
          </a:p>
        </p:txBody>
      </p:sp>
    </p:spTree>
    <p:extLst>
      <p:ext uri="{BB962C8B-B14F-4D97-AF65-F5344CB8AC3E}">
        <p14:creationId xmlns:p14="http://schemas.microsoft.com/office/powerpoint/2010/main" val="1535298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9</a:t>
            </a:fld>
            <a:endParaRPr lang="ko-KR" altLang="en-US"/>
          </a:p>
        </p:txBody>
      </p:sp>
    </p:spTree>
    <p:extLst>
      <p:ext uri="{BB962C8B-B14F-4D97-AF65-F5344CB8AC3E}">
        <p14:creationId xmlns:p14="http://schemas.microsoft.com/office/powerpoint/2010/main" val="3899623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20</a:t>
            </a:fld>
            <a:endParaRPr lang="ko-KR" altLang="en-US"/>
          </a:p>
        </p:txBody>
      </p:sp>
    </p:spTree>
    <p:extLst>
      <p:ext uri="{BB962C8B-B14F-4D97-AF65-F5344CB8AC3E}">
        <p14:creationId xmlns:p14="http://schemas.microsoft.com/office/powerpoint/2010/main" val="2980739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21</a:t>
            </a:fld>
            <a:endParaRPr lang="ko-KR" altLang="en-US"/>
          </a:p>
        </p:txBody>
      </p:sp>
    </p:spTree>
    <p:extLst>
      <p:ext uri="{BB962C8B-B14F-4D97-AF65-F5344CB8AC3E}">
        <p14:creationId xmlns:p14="http://schemas.microsoft.com/office/powerpoint/2010/main" val="952786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ADE8DC-FF3C-EB41-AEF7-554403F730EC}"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991170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25</a:t>
            </a:fld>
            <a:endParaRPr lang="ko-KR" altLang="en-US"/>
          </a:p>
        </p:txBody>
      </p:sp>
    </p:spTree>
    <p:extLst>
      <p:ext uri="{BB962C8B-B14F-4D97-AF65-F5344CB8AC3E}">
        <p14:creationId xmlns:p14="http://schemas.microsoft.com/office/powerpoint/2010/main" val="10485760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ADE8DC-FF3C-EB41-AEF7-554403F730EC}"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018297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27</a:t>
            </a:fld>
            <a:endParaRPr lang="ko-KR" altLang="en-US"/>
          </a:p>
        </p:txBody>
      </p:sp>
    </p:spTree>
    <p:extLst>
      <p:ext uri="{BB962C8B-B14F-4D97-AF65-F5344CB8AC3E}">
        <p14:creationId xmlns:p14="http://schemas.microsoft.com/office/powerpoint/2010/main" val="1625603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0</a:t>
            </a:fld>
            <a:endParaRPr lang="ko-KR" altLang="en-US"/>
          </a:p>
        </p:txBody>
      </p:sp>
    </p:spTree>
    <p:extLst>
      <p:ext uri="{BB962C8B-B14F-4D97-AF65-F5344CB8AC3E}">
        <p14:creationId xmlns:p14="http://schemas.microsoft.com/office/powerpoint/2010/main" val="4195330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1</a:t>
            </a:fld>
            <a:endParaRPr lang="ko-KR" altLang="en-US"/>
          </a:p>
        </p:txBody>
      </p:sp>
    </p:spTree>
    <p:extLst>
      <p:ext uri="{BB962C8B-B14F-4D97-AF65-F5344CB8AC3E}">
        <p14:creationId xmlns:p14="http://schemas.microsoft.com/office/powerpoint/2010/main" val="2785784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2</a:t>
            </a:fld>
            <a:endParaRPr lang="ko-KR" altLang="en-US"/>
          </a:p>
        </p:txBody>
      </p:sp>
    </p:spTree>
    <p:extLst>
      <p:ext uri="{BB962C8B-B14F-4D97-AF65-F5344CB8AC3E}">
        <p14:creationId xmlns:p14="http://schemas.microsoft.com/office/powerpoint/2010/main" val="292715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ADE8DC-FF3C-EB41-AEF7-554403F730EC}"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66216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3</a:t>
            </a:fld>
            <a:endParaRPr lang="ko-KR" altLang="en-US"/>
          </a:p>
        </p:txBody>
      </p:sp>
    </p:spTree>
    <p:extLst>
      <p:ext uri="{BB962C8B-B14F-4D97-AF65-F5344CB8AC3E}">
        <p14:creationId xmlns:p14="http://schemas.microsoft.com/office/powerpoint/2010/main" val="331909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7</a:t>
            </a:fld>
            <a:endParaRPr lang="ko-KR" altLang="en-US"/>
          </a:p>
        </p:txBody>
      </p:sp>
    </p:spTree>
    <p:extLst>
      <p:ext uri="{BB962C8B-B14F-4D97-AF65-F5344CB8AC3E}">
        <p14:creationId xmlns:p14="http://schemas.microsoft.com/office/powerpoint/2010/main" val="17043564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38</a:t>
            </a:fld>
            <a:endParaRPr lang="ko-KR" altLang="en-US"/>
          </a:p>
        </p:txBody>
      </p:sp>
    </p:spTree>
    <p:extLst>
      <p:ext uri="{BB962C8B-B14F-4D97-AF65-F5344CB8AC3E}">
        <p14:creationId xmlns:p14="http://schemas.microsoft.com/office/powerpoint/2010/main" val="3678671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9</a:t>
            </a:fld>
            <a:endParaRPr lang="ko-KR" altLang="en-US"/>
          </a:p>
        </p:txBody>
      </p:sp>
    </p:spTree>
    <p:extLst>
      <p:ext uri="{BB962C8B-B14F-4D97-AF65-F5344CB8AC3E}">
        <p14:creationId xmlns:p14="http://schemas.microsoft.com/office/powerpoint/2010/main" val="2524650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0</a:t>
            </a:fld>
            <a:endParaRPr lang="ko-KR" altLang="en-US"/>
          </a:p>
        </p:txBody>
      </p:sp>
    </p:spTree>
    <p:extLst>
      <p:ext uri="{BB962C8B-B14F-4D97-AF65-F5344CB8AC3E}">
        <p14:creationId xmlns:p14="http://schemas.microsoft.com/office/powerpoint/2010/main" val="3793118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ADE8DC-FF3C-EB41-AEF7-554403F730E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09044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4</a:t>
            </a:fld>
            <a:endParaRPr lang="ko-KR" altLang="en-US"/>
          </a:p>
        </p:txBody>
      </p:sp>
    </p:spTree>
    <p:extLst>
      <p:ext uri="{BB962C8B-B14F-4D97-AF65-F5344CB8AC3E}">
        <p14:creationId xmlns:p14="http://schemas.microsoft.com/office/powerpoint/2010/main" val="2423385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5</a:t>
            </a:fld>
            <a:endParaRPr lang="ko-KR" altLang="en-US"/>
          </a:p>
        </p:txBody>
      </p:sp>
    </p:spTree>
    <p:extLst>
      <p:ext uri="{BB962C8B-B14F-4D97-AF65-F5344CB8AC3E}">
        <p14:creationId xmlns:p14="http://schemas.microsoft.com/office/powerpoint/2010/main" val="256093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9CEF08FF-B3C2-4D33-84E5-23C2DFEE8C2D}" type="slidenum">
              <a:rPr lang="ko-KR" altLang="en-US" smtClean="0"/>
              <a:t>16</a:t>
            </a:fld>
            <a:endParaRPr lang="ko-KR" altLang="en-US"/>
          </a:p>
        </p:txBody>
      </p:sp>
    </p:spTree>
    <p:extLst>
      <p:ext uri="{BB962C8B-B14F-4D97-AF65-F5344CB8AC3E}">
        <p14:creationId xmlns:p14="http://schemas.microsoft.com/office/powerpoint/2010/main" val="735293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ADE8DC-FF3C-EB41-AEF7-554403F730EC}"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749836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793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표지">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699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cxnSp>
        <p:nvCxnSpPr>
          <p:cNvPr id="17" name="Straight Connector 25"/>
          <p:cNvCxnSpPr/>
          <p:nvPr userDrawn="1"/>
        </p:nvCxnSpPr>
        <p:spPr>
          <a:xfrm>
            <a:off x="279625" y="2139025"/>
            <a:ext cx="9359173" cy="0"/>
          </a:xfrm>
          <a:prstGeom prst="line">
            <a:avLst/>
          </a:prstGeom>
          <a:ln w="3175" cmpd="sng">
            <a:solidFill>
              <a:srgbClr val="A50034"/>
            </a:solidFill>
          </a:ln>
          <a:effectLst/>
        </p:spPr>
        <p:style>
          <a:lnRef idx="2">
            <a:schemeClr val="accent1"/>
          </a:lnRef>
          <a:fillRef idx="0">
            <a:schemeClr val="accent1"/>
          </a:fillRef>
          <a:effectRef idx="1">
            <a:schemeClr val="accent1"/>
          </a:effectRef>
          <a:fontRef idx="minor">
            <a:schemeClr val="tx1"/>
          </a:fontRef>
        </p:style>
      </p:cxnSp>
      <p:sp>
        <p:nvSpPr>
          <p:cNvPr id="18" name="Text Placeholder 22"/>
          <p:cNvSpPr>
            <a:spLocks noGrp="1"/>
          </p:cNvSpPr>
          <p:nvPr>
            <p:ph type="body" sz="quarter" idx="11" hasCustomPrompt="1"/>
          </p:nvPr>
        </p:nvSpPr>
        <p:spPr>
          <a:xfrm>
            <a:off x="283560" y="2568499"/>
            <a:ext cx="445354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800" baseline="0">
                <a:latin typeface="Arial" panose="020B0604020202020204" pitchFamily="34" charset="0"/>
                <a:cs typeface="Arial" panose="020B0604020202020204" pitchFamily="34" charset="0"/>
              </a:defRPr>
            </a:lvl1pPr>
            <a:lvl2pPr marL="457200" indent="0" algn="l">
              <a:buFontTx/>
              <a:buNone/>
              <a:defRPr sz="1800">
                <a:latin typeface="Arial" panose="020B0604020202020204" pitchFamily="34" charset="0"/>
                <a:cs typeface="Arial" panose="020B0604020202020204" pitchFamily="34" charset="0"/>
              </a:defRPr>
            </a:lvl2pPr>
            <a:lvl3pPr marL="914400" indent="0" algn="l">
              <a:buFontTx/>
              <a:buNone/>
              <a:defRPr sz="1800">
                <a:latin typeface="Arial" panose="020B0604020202020204" pitchFamily="34" charset="0"/>
                <a:cs typeface="Arial" panose="020B0604020202020204" pitchFamily="34" charset="0"/>
              </a:defRPr>
            </a:lvl3pPr>
            <a:lvl4pPr marL="1371600" indent="0" algn="l">
              <a:buFontTx/>
              <a:buNone/>
              <a:defRPr sz="1800">
                <a:latin typeface="Arial" panose="020B0604020202020204" pitchFamily="34" charset="0"/>
                <a:cs typeface="Arial" panose="020B0604020202020204" pitchFamily="34" charset="0"/>
              </a:defRPr>
            </a:lvl4pPr>
            <a:lvl5pPr marL="1828800" indent="0" algn="l">
              <a:buFontTx/>
              <a:buNone/>
              <a:defRPr sz="1800">
                <a:latin typeface="Arial" panose="020B0604020202020204" pitchFamily="34" charset="0"/>
                <a:cs typeface="Arial" panose="020B0604020202020204" pitchFamily="34" charset="0"/>
              </a:defRPr>
            </a:lvl5pPr>
          </a:lstStyle>
          <a:p>
            <a:pPr lvl="0"/>
            <a:r>
              <a:rPr lang="en-US" altLang="ko-KR" dirty="0"/>
              <a:t>1. Main Title Arial 18pt Arial 18pt</a:t>
            </a:r>
          </a:p>
        </p:txBody>
      </p:sp>
      <p:sp>
        <p:nvSpPr>
          <p:cNvPr id="19" name="Text Placeholder 24"/>
          <p:cNvSpPr>
            <a:spLocks noGrp="1"/>
          </p:cNvSpPr>
          <p:nvPr>
            <p:ph type="body" sz="quarter" idx="12" hasCustomPrompt="1"/>
          </p:nvPr>
        </p:nvSpPr>
        <p:spPr>
          <a:xfrm>
            <a:off x="4953000" y="2557989"/>
            <a:ext cx="467995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ltLang="ko-KR" dirty="0"/>
              <a:t>6. Main Title Arial 18pt Arial 18pt</a:t>
            </a:r>
          </a:p>
        </p:txBody>
      </p:sp>
      <p:sp>
        <p:nvSpPr>
          <p:cNvPr id="20" name="Text Placeholder 22"/>
          <p:cNvSpPr>
            <a:spLocks noGrp="1"/>
          </p:cNvSpPr>
          <p:nvPr>
            <p:ph type="body" sz="quarter" idx="13" hasCustomPrompt="1"/>
          </p:nvPr>
        </p:nvSpPr>
        <p:spPr>
          <a:xfrm>
            <a:off x="283560" y="3324900"/>
            <a:ext cx="445354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800" baseline="0">
                <a:latin typeface="Arial" panose="020B0604020202020204" pitchFamily="34" charset="0"/>
                <a:cs typeface="Arial" panose="020B0604020202020204" pitchFamily="34" charset="0"/>
              </a:defRPr>
            </a:lvl1pPr>
            <a:lvl2pPr marL="457200" indent="0" algn="l">
              <a:buFontTx/>
              <a:buNone/>
              <a:defRPr sz="1800">
                <a:latin typeface="Arial" panose="020B0604020202020204" pitchFamily="34" charset="0"/>
                <a:cs typeface="Arial" panose="020B0604020202020204" pitchFamily="34" charset="0"/>
              </a:defRPr>
            </a:lvl2pPr>
            <a:lvl3pPr marL="914400" indent="0" algn="l">
              <a:buFontTx/>
              <a:buNone/>
              <a:defRPr sz="1800">
                <a:latin typeface="Arial" panose="020B0604020202020204" pitchFamily="34" charset="0"/>
                <a:cs typeface="Arial" panose="020B0604020202020204" pitchFamily="34" charset="0"/>
              </a:defRPr>
            </a:lvl3pPr>
            <a:lvl4pPr marL="1371600" indent="0" algn="l">
              <a:buFontTx/>
              <a:buNone/>
              <a:defRPr sz="1800">
                <a:latin typeface="Arial" panose="020B0604020202020204" pitchFamily="34" charset="0"/>
                <a:cs typeface="Arial" panose="020B0604020202020204" pitchFamily="34" charset="0"/>
              </a:defRPr>
            </a:lvl4pPr>
            <a:lvl5pPr marL="1828800" indent="0" algn="l">
              <a:buFontTx/>
              <a:buNone/>
              <a:defRPr sz="1800">
                <a:latin typeface="Arial" panose="020B0604020202020204" pitchFamily="34" charset="0"/>
                <a:cs typeface="Arial" panose="020B0604020202020204" pitchFamily="34" charset="0"/>
              </a:defRPr>
            </a:lvl5pPr>
          </a:lstStyle>
          <a:p>
            <a:pPr lvl="0"/>
            <a:r>
              <a:rPr lang="en-US" altLang="ko-KR" dirty="0"/>
              <a:t>2. Main Title Arial 18pt Arial 18pt</a:t>
            </a:r>
          </a:p>
        </p:txBody>
      </p:sp>
      <p:sp>
        <p:nvSpPr>
          <p:cNvPr id="21" name="Text Placeholder 24"/>
          <p:cNvSpPr>
            <a:spLocks noGrp="1"/>
          </p:cNvSpPr>
          <p:nvPr>
            <p:ph type="body" sz="quarter" idx="14" hasCustomPrompt="1"/>
          </p:nvPr>
        </p:nvSpPr>
        <p:spPr>
          <a:xfrm>
            <a:off x="4953000" y="3317017"/>
            <a:ext cx="467995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ltLang="ko-KR" dirty="0"/>
              <a:t>7. Main Title Arial 18pt Arial 18pt</a:t>
            </a:r>
          </a:p>
        </p:txBody>
      </p:sp>
      <p:sp>
        <p:nvSpPr>
          <p:cNvPr id="22" name="Text Placeholder 22"/>
          <p:cNvSpPr>
            <a:spLocks noGrp="1"/>
          </p:cNvSpPr>
          <p:nvPr>
            <p:ph type="body" sz="quarter" idx="15" hasCustomPrompt="1"/>
          </p:nvPr>
        </p:nvSpPr>
        <p:spPr>
          <a:xfrm>
            <a:off x="283560" y="4081301"/>
            <a:ext cx="445354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800" baseline="0">
                <a:latin typeface="Arial" panose="020B0604020202020204" pitchFamily="34" charset="0"/>
                <a:cs typeface="Arial" panose="020B0604020202020204" pitchFamily="34" charset="0"/>
              </a:defRPr>
            </a:lvl1pPr>
            <a:lvl2pPr marL="457200" indent="0" algn="l">
              <a:buFontTx/>
              <a:buNone/>
              <a:defRPr sz="1800">
                <a:latin typeface="Arial" panose="020B0604020202020204" pitchFamily="34" charset="0"/>
                <a:cs typeface="Arial" panose="020B0604020202020204" pitchFamily="34" charset="0"/>
              </a:defRPr>
            </a:lvl2pPr>
            <a:lvl3pPr marL="914400" indent="0" algn="l">
              <a:buFontTx/>
              <a:buNone/>
              <a:defRPr sz="1800">
                <a:latin typeface="Arial" panose="020B0604020202020204" pitchFamily="34" charset="0"/>
                <a:cs typeface="Arial" panose="020B0604020202020204" pitchFamily="34" charset="0"/>
              </a:defRPr>
            </a:lvl3pPr>
            <a:lvl4pPr marL="1371600" indent="0" algn="l">
              <a:buFontTx/>
              <a:buNone/>
              <a:defRPr sz="1800">
                <a:latin typeface="Arial" panose="020B0604020202020204" pitchFamily="34" charset="0"/>
                <a:cs typeface="Arial" panose="020B0604020202020204" pitchFamily="34" charset="0"/>
              </a:defRPr>
            </a:lvl4pPr>
            <a:lvl5pPr marL="1828800" indent="0" algn="l">
              <a:buFontTx/>
              <a:buNone/>
              <a:defRPr sz="1800">
                <a:latin typeface="Arial" panose="020B0604020202020204" pitchFamily="34" charset="0"/>
                <a:cs typeface="Arial" panose="020B0604020202020204" pitchFamily="34" charset="0"/>
              </a:defRPr>
            </a:lvl5pPr>
          </a:lstStyle>
          <a:p>
            <a:pPr lvl="0"/>
            <a:r>
              <a:rPr lang="en-US" altLang="ko-KR" dirty="0"/>
              <a:t>3. Main Title Arial 18pt Arial 18pt</a:t>
            </a:r>
          </a:p>
        </p:txBody>
      </p:sp>
      <p:sp>
        <p:nvSpPr>
          <p:cNvPr id="24" name="Text Placeholder 24"/>
          <p:cNvSpPr>
            <a:spLocks noGrp="1"/>
          </p:cNvSpPr>
          <p:nvPr>
            <p:ph type="body" sz="quarter" idx="16" hasCustomPrompt="1"/>
          </p:nvPr>
        </p:nvSpPr>
        <p:spPr>
          <a:xfrm>
            <a:off x="4953000" y="4076045"/>
            <a:ext cx="467995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ltLang="ko-KR" dirty="0"/>
              <a:t>8. Main Title Arial 18pt Arial 18pt</a:t>
            </a:r>
          </a:p>
        </p:txBody>
      </p:sp>
      <p:sp>
        <p:nvSpPr>
          <p:cNvPr id="34" name="Text Placeholder 22"/>
          <p:cNvSpPr>
            <a:spLocks noGrp="1"/>
          </p:cNvSpPr>
          <p:nvPr>
            <p:ph type="body" sz="quarter" idx="17" hasCustomPrompt="1"/>
          </p:nvPr>
        </p:nvSpPr>
        <p:spPr>
          <a:xfrm>
            <a:off x="283560" y="4837702"/>
            <a:ext cx="445354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800" baseline="0">
                <a:latin typeface="Arial" panose="020B0604020202020204" pitchFamily="34" charset="0"/>
                <a:cs typeface="Arial" panose="020B0604020202020204" pitchFamily="34" charset="0"/>
              </a:defRPr>
            </a:lvl1pPr>
            <a:lvl2pPr marL="457200" indent="0" algn="l">
              <a:buFontTx/>
              <a:buNone/>
              <a:defRPr sz="1800">
                <a:latin typeface="Arial" panose="020B0604020202020204" pitchFamily="34" charset="0"/>
                <a:cs typeface="Arial" panose="020B0604020202020204" pitchFamily="34" charset="0"/>
              </a:defRPr>
            </a:lvl2pPr>
            <a:lvl3pPr marL="914400" indent="0" algn="l">
              <a:buFontTx/>
              <a:buNone/>
              <a:defRPr sz="1800">
                <a:latin typeface="Arial" panose="020B0604020202020204" pitchFamily="34" charset="0"/>
                <a:cs typeface="Arial" panose="020B0604020202020204" pitchFamily="34" charset="0"/>
              </a:defRPr>
            </a:lvl3pPr>
            <a:lvl4pPr marL="1371600" indent="0" algn="l">
              <a:buFontTx/>
              <a:buNone/>
              <a:defRPr sz="1800">
                <a:latin typeface="Arial" panose="020B0604020202020204" pitchFamily="34" charset="0"/>
                <a:cs typeface="Arial" panose="020B0604020202020204" pitchFamily="34" charset="0"/>
              </a:defRPr>
            </a:lvl4pPr>
            <a:lvl5pPr marL="1828800" indent="0" algn="l">
              <a:buFontTx/>
              <a:buNone/>
              <a:defRPr sz="1800">
                <a:latin typeface="Arial" panose="020B0604020202020204" pitchFamily="34" charset="0"/>
                <a:cs typeface="Arial" panose="020B0604020202020204" pitchFamily="34" charset="0"/>
              </a:defRPr>
            </a:lvl5pPr>
          </a:lstStyle>
          <a:p>
            <a:pPr lvl="0"/>
            <a:r>
              <a:rPr lang="en-US" altLang="ko-KR" dirty="0"/>
              <a:t>4. Main Title Arial 18pt Arial 18pt</a:t>
            </a:r>
          </a:p>
        </p:txBody>
      </p:sp>
      <p:sp>
        <p:nvSpPr>
          <p:cNvPr id="35" name="Text Placeholder 24"/>
          <p:cNvSpPr>
            <a:spLocks noGrp="1"/>
          </p:cNvSpPr>
          <p:nvPr>
            <p:ph type="body" sz="quarter" idx="18" hasCustomPrompt="1"/>
          </p:nvPr>
        </p:nvSpPr>
        <p:spPr>
          <a:xfrm>
            <a:off x="4953000" y="4835073"/>
            <a:ext cx="467995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ltLang="ko-KR" dirty="0"/>
              <a:t>9. Main Title Arial 18pt Arial 18pt</a:t>
            </a:r>
          </a:p>
        </p:txBody>
      </p:sp>
      <p:sp>
        <p:nvSpPr>
          <p:cNvPr id="36" name="Text Placeholder 22"/>
          <p:cNvSpPr>
            <a:spLocks noGrp="1"/>
          </p:cNvSpPr>
          <p:nvPr>
            <p:ph type="body" sz="quarter" idx="19" hasCustomPrompt="1"/>
          </p:nvPr>
        </p:nvSpPr>
        <p:spPr>
          <a:xfrm>
            <a:off x="283560" y="5594102"/>
            <a:ext cx="445354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800" baseline="0">
                <a:latin typeface="Arial" panose="020B0604020202020204" pitchFamily="34" charset="0"/>
                <a:cs typeface="Arial" panose="020B0604020202020204" pitchFamily="34" charset="0"/>
              </a:defRPr>
            </a:lvl1pPr>
            <a:lvl2pPr marL="457200" indent="0" algn="l">
              <a:buFontTx/>
              <a:buNone/>
              <a:defRPr sz="1800">
                <a:latin typeface="Arial" panose="020B0604020202020204" pitchFamily="34" charset="0"/>
                <a:cs typeface="Arial" panose="020B0604020202020204" pitchFamily="34" charset="0"/>
              </a:defRPr>
            </a:lvl2pPr>
            <a:lvl3pPr marL="914400" indent="0" algn="l">
              <a:buFontTx/>
              <a:buNone/>
              <a:defRPr sz="1800">
                <a:latin typeface="Arial" panose="020B0604020202020204" pitchFamily="34" charset="0"/>
                <a:cs typeface="Arial" panose="020B0604020202020204" pitchFamily="34" charset="0"/>
              </a:defRPr>
            </a:lvl3pPr>
            <a:lvl4pPr marL="1371600" indent="0" algn="l">
              <a:buFontTx/>
              <a:buNone/>
              <a:defRPr sz="1800">
                <a:latin typeface="Arial" panose="020B0604020202020204" pitchFamily="34" charset="0"/>
                <a:cs typeface="Arial" panose="020B0604020202020204" pitchFamily="34" charset="0"/>
              </a:defRPr>
            </a:lvl4pPr>
            <a:lvl5pPr marL="1828800" indent="0" algn="l">
              <a:buFontTx/>
              <a:buNone/>
              <a:defRPr sz="1800">
                <a:latin typeface="Arial" panose="020B0604020202020204" pitchFamily="34" charset="0"/>
                <a:cs typeface="Arial" panose="020B0604020202020204" pitchFamily="34" charset="0"/>
              </a:defRPr>
            </a:lvl5pPr>
          </a:lstStyle>
          <a:p>
            <a:pPr lvl="0"/>
            <a:r>
              <a:rPr lang="en-US" altLang="ko-KR" dirty="0"/>
              <a:t>5. Main Title Arial 18pt Arial 18pt</a:t>
            </a:r>
          </a:p>
        </p:txBody>
      </p:sp>
      <p:sp>
        <p:nvSpPr>
          <p:cNvPr id="37" name="Text Placeholder 24"/>
          <p:cNvSpPr>
            <a:spLocks noGrp="1"/>
          </p:cNvSpPr>
          <p:nvPr>
            <p:ph type="body" sz="quarter" idx="20" hasCustomPrompt="1"/>
          </p:nvPr>
        </p:nvSpPr>
        <p:spPr>
          <a:xfrm>
            <a:off x="4953000" y="5594102"/>
            <a:ext cx="4679950" cy="27699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ltLang="ko-KR" dirty="0"/>
              <a:t>10. Main Title Arial 18pt Arial 18pt</a:t>
            </a:r>
          </a:p>
        </p:txBody>
      </p:sp>
      <p:sp>
        <p:nvSpPr>
          <p:cNvPr id="38" name="Text Placeholder 19"/>
          <p:cNvSpPr>
            <a:spLocks noGrp="1"/>
          </p:cNvSpPr>
          <p:nvPr>
            <p:ph type="body" sz="quarter" idx="10" hasCustomPrompt="1"/>
          </p:nvPr>
        </p:nvSpPr>
        <p:spPr>
          <a:xfrm>
            <a:off x="276800" y="1361661"/>
            <a:ext cx="9312275" cy="677108"/>
          </a:xfrm>
          <a:prstGeom prst="rect">
            <a:avLst/>
          </a:prstGeom>
        </p:spPr>
        <p:txBody>
          <a:bodyPr lIns="0" tIns="0" rIns="0" bIns="0">
            <a:spAutoFit/>
          </a:bodyPr>
          <a:lstStyle>
            <a:lvl1pPr marL="0" indent="0">
              <a:buNone/>
              <a:defRPr sz="4400">
                <a:latin typeface="Arial" panose="020B0604020202020204" pitchFamily="34" charset="0"/>
                <a:cs typeface="Arial" panose="020B0604020202020204" pitchFamily="34" charset="0"/>
              </a:defRPr>
            </a:lvl1pPr>
          </a:lstStyle>
          <a:p>
            <a:r>
              <a:rPr lang="en-US" altLang="ko-KR" dirty="0"/>
              <a:t>Contents</a:t>
            </a:r>
            <a:endParaRPr lang="ko-KR" altLang="en-US" dirty="0"/>
          </a:p>
        </p:txBody>
      </p:sp>
      <p:sp>
        <p:nvSpPr>
          <p:cNvPr id="39" name="Rectangle 23"/>
          <p:cNvSpPr/>
          <p:nvPr userDrawn="1"/>
        </p:nvSpPr>
        <p:spPr>
          <a:xfrm>
            <a:off x="275893" y="2139456"/>
            <a:ext cx="828000" cy="45719"/>
          </a:xfrm>
          <a:prstGeom prst="rect">
            <a:avLst/>
          </a:prstGeom>
          <a:solidFill>
            <a:srgbClr val="A500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endParaRPr>
          </a:p>
        </p:txBody>
      </p:sp>
    </p:spTree>
    <p:extLst>
      <p:ext uri="{BB962C8B-B14F-4D97-AF65-F5344CB8AC3E}">
        <p14:creationId xmlns:p14="http://schemas.microsoft.com/office/powerpoint/2010/main" val="3202662817"/>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orient="horz" pos="370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6" name="Picture 4" descr="C:\Users\Administrator\Desktop\LG Multy_V\간지.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93" y="0"/>
            <a:ext cx="9904412" cy="4357694"/>
          </a:xfrm>
          <a:prstGeom prst="rect">
            <a:avLst/>
          </a:prstGeom>
          <a:noFill/>
        </p:spPr>
      </p:pic>
      <p:cxnSp>
        <p:nvCxnSpPr>
          <p:cNvPr id="7" name="Straight Connector 25"/>
          <p:cNvCxnSpPr/>
          <p:nvPr userDrawn="1"/>
        </p:nvCxnSpPr>
        <p:spPr>
          <a:xfrm>
            <a:off x="4883150" y="3984609"/>
            <a:ext cx="4851400" cy="0"/>
          </a:xfrm>
          <a:prstGeom prst="line">
            <a:avLst/>
          </a:prstGeom>
          <a:ln w="3175" cmpd="sng">
            <a:solidFill>
              <a:srgbClr val="A50034"/>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3"/>
          <p:cNvSpPr>
            <a:spLocks noGrp="1"/>
          </p:cNvSpPr>
          <p:nvPr>
            <p:ph type="body" sz="quarter" idx="12" hasCustomPrompt="1"/>
          </p:nvPr>
        </p:nvSpPr>
        <p:spPr>
          <a:xfrm>
            <a:off x="4891095" y="3439886"/>
            <a:ext cx="4441589" cy="492443"/>
          </a:xfrm>
          <a:prstGeom prst="rect">
            <a:avLst/>
          </a:prstGeom>
        </p:spPr>
        <p:txBody>
          <a:bodyPr wrap="square" lIns="0" tIns="0" rIns="0" bIns="0">
            <a:spAutoFit/>
          </a:bodyPr>
          <a:lstStyle>
            <a:lvl1pPr marL="0" indent="0">
              <a:buFontTx/>
              <a:buNone/>
              <a:defRPr>
                <a:latin typeface="Arial"/>
                <a:cs typeface="Arial"/>
              </a:defRPr>
            </a:lvl1pPr>
          </a:lstStyle>
          <a:p>
            <a:pPr lvl="0"/>
            <a:r>
              <a:rPr lang="en-US" altLang="ko-KR" dirty="0"/>
              <a:t>Main Title Arial 32pt</a:t>
            </a:r>
            <a:endParaRPr lang="ko-KR" altLang="en-US" dirty="0"/>
          </a:p>
        </p:txBody>
      </p:sp>
      <p:sp>
        <p:nvSpPr>
          <p:cNvPr id="15" name="Rectangle 23"/>
          <p:cNvSpPr/>
          <p:nvPr userDrawn="1"/>
        </p:nvSpPr>
        <p:spPr>
          <a:xfrm>
            <a:off x="4883150" y="3983573"/>
            <a:ext cx="828000" cy="45719"/>
          </a:xfrm>
          <a:prstGeom prst="rect">
            <a:avLst/>
          </a:prstGeom>
          <a:solidFill>
            <a:srgbClr val="A500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25000" dirty="0">
              <a:solidFill>
                <a:prstClr val="white"/>
              </a:solidFill>
              <a:latin typeface="Arial" panose="020B0604020202020204" pitchFamily="34" charset="0"/>
            </a:endParaRPr>
          </a:p>
        </p:txBody>
      </p:sp>
      <p:sp>
        <p:nvSpPr>
          <p:cNvPr id="18" name="Text Placeholder 17"/>
          <p:cNvSpPr>
            <a:spLocks noGrp="1"/>
          </p:cNvSpPr>
          <p:nvPr>
            <p:ph type="body" sz="quarter" idx="13" hasCustomPrompt="1"/>
          </p:nvPr>
        </p:nvSpPr>
        <p:spPr>
          <a:xfrm>
            <a:off x="4883150" y="4234766"/>
            <a:ext cx="4464050" cy="276999"/>
          </a:xfrm>
          <a:prstGeom prst="rect">
            <a:avLst/>
          </a:prstGeom>
        </p:spPr>
        <p:txBody>
          <a:bodyPr wrap="square" lIns="0" tIns="0" rIns="0" bIns="0">
            <a:spAutoFit/>
          </a:bodyPr>
          <a:lstStyle>
            <a:lvl1pPr marL="285750" indent="-285750">
              <a:lnSpc>
                <a:spcPct val="100000"/>
              </a:lnSpc>
              <a:spcBef>
                <a:spcPts val="1000"/>
              </a:spcBef>
              <a:buFont typeface="Arial" panose="020B0604020202020204" pitchFamily="34" charset="0"/>
              <a:buChar char="•"/>
              <a:defRPr sz="1800" baseline="0">
                <a:latin typeface="Arial" panose="020B0604020202020204" pitchFamily="34" charset="0"/>
                <a:cs typeface="Arial" panose="020B0604020202020204" pitchFamily="34" charset="0"/>
              </a:defRPr>
            </a:lvl1pPr>
            <a:lvl2pPr>
              <a:defRPr sz="1800"/>
            </a:lvl2pPr>
            <a:lvl3pPr>
              <a:defRPr sz="1800"/>
            </a:lvl3pPr>
            <a:lvl4pPr>
              <a:defRPr sz="1800"/>
            </a:lvl4pPr>
            <a:lvl5pPr>
              <a:defRPr sz="1800"/>
            </a:lvl5pPr>
          </a:lstStyle>
          <a:p>
            <a:pPr lvl="0"/>
            <a:r>
              <a:rPr lang="en-US" altLang="ko-KR" dirty="0"/>
              <a:t>Sub Title Arial 18pt Arial 18pt</a:t>
            </a:r>
          </a:p>
        </p:txBody>
      </p:sp>
    </p:spTree>
    <p:extLst>
      <p:ext uri="{BB962C8B-B14F-4D97-AF65-F5344CB8AC3E}">
        <p14:creationId xmlns:p14="http://schemas.microsoft.com/office/powerpoint/2010/main" val="810955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ge(headcopy+full Image)">
    <p:spTree>
      <p:nvGrpSpPr>
        <p:cNvPr id="1" name=""/>
        <p:cNvGrpSpPr/>
        <p:nvPr/>
      </p:nvGrpSpPr>
      <p:grpSpPr>
        <a:xfrm>
          <a:off x="0" y="0"/>
          <a:ext cx="0" cy="0"/>
          <a:chOff x="0" y="0"/>
          <a:chExt cx="0" cy="0"/>
        </a:xfrm>
      </p:grpSpPr>
      <p:cxnSp>
        <p:nvCxnSpPr>
          <p:cNvPr id="22" name="Straight Connector 25"/>
          <p:cNvCxnSpPr/>
          <p:nvPr userDrawn="1"/>
        </p:nvCxnSpPr>
        <p:spPr>
          <a:xfrm>
            <a:off x="275815" y="589880"/>
            <a:ext cx="9359173" cy="0"/>
          </a:xfrm>
          <a:prstGeom prst="line">
            <a:avLst/>
          </a:prstGeom>
          <a:ln w="3175" cmpd="sng">
            <a:solidFill>
              <a:srgbClr val="A50034"/>
            </a:solidFill>
          </a:ln>
          <a:effectLst/>
        </p:spPr>
        <p:style>
          <a:lnRef idx="2">
            <a:schemeClr val="accent1"/>
          </a:lnRef>
          <a:fillRef idx="0">
            <a:schemeClr val="accent1"/>
          </a:fillRef>
          <a:effectRef idx="1">
            <a:schemeClr val="accent1"/>
          </a:effectRef>
          <a:fontRef idx="minor">
            <a:schemeClr val="tx1"/>
          </a:fontRef>
        </p:style>
      </p:cxnSp>
      <p:sp>
        <p:nvSpPr>
          <p:cNvPr id="23" name="Rectangle 23"/>
          <p:cNvSpPr/>
          <p:nvPr userDrawn="1"/>
        </p:nvSpPr>
        <p:spPr>
          <a:xfrm>
            <a:off x="277241" y="589880"/>
            <a:ext cx="828000" cy="45719"/>
          </a:xfrm>
          <a:prstGeom prst="rect">
            <a:avLst/>
          </a:prstGeom>
          <a:solidFill>
            <a:srgbClr val="A500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endParaRPr>
          </a:p>
        </p:txBody>
      </p:sp>
      <p:sp>
        <p:nvSpPr>
          <p:cNvPr id="11" name="Text Placeholder 13"/>
          <p:cNvSpPr>
            <a:spLocks noGrp="1"/>
          </p:cNvSpPr>
          <p:nvPr>
            <p:ph type="body" sz="quarter" idx="19" hasCustomPrompt="1"/>
          </p:nvPr>
        </p:nvSpPr>
        <p:spPr>
          <a:xfrm>
            <a:off x="276742" y="164293"/>
            <a:ext cx="7793201" cy="369332"/>
          </a:xfrm>
          <a:prstGeom prst="rect">
            <a:avLst/>
          </a:prstGeom>
        </p:spPr>
        <p:txBody>
          <a:bodyPr wrap="square" lIns="0" tIns="0" rIns="0" bIns="0">
            <a:spAutoFit/>
          </a:bodyPr>
          <a:lstStyle>
            <a:lvl1pPr marL="0" indent="0">
              <a:buFontTx/>
              <a:buNone/>
              <a:defRPr sz="2400" b="1">
                <a:latin typeface="Arial" panose="020B0604020202020204" pitchFamily="34" charset="0"/>
                <a:cs typeface="Arial" panose="020B0604020202020204" pitchFamily="34" charset="0"/>
              </a:defRPr>
            </a:lvl1pPr>
          </a:lstStyle>
          <a:p>
            <a:pPr lvl="0"/>
            <a:r>
              <a:rPr lang="en-US" altLang="ko-KR" dirty="0"/>
              <a:t>Header Arial bold 24pt</a:t>
            </a:r>
            <a:endParaRPr lang="ko-KR" altLang="en-US" dirty="0"/>
          </a:p>
        </p:txBody>
      </p:sp>
      <p:sp>
        <p:nvSpPr>
          <p:cNvPr id="12" name="Text Placeholder 16"/>
          <p:cNvSpPr>
            <a:spLocks noGrp="1"/>
          </p:cNvSpPr>
          <p:nvPr>
            <p:ph type="body" sz="quarter" idx="20"/>
          </p:nvPr>
        </p:nvSpPr>
        <p:spPr>
          <a:xfrm>
            <a:off x="6330950" y="266849"/>
            <a:ext cx="3302000" cy="246221"/>
          </a:xfrm>
          <a:prstGeom prst="rect">
            <a:avLst/>
          </a:prstGeom>
        </p:spPr>
        <p:txBody>
          <a:bodyPr lIns="0" tIns="0" rIns="0" bIns="0">
            <a:spAutoFit/>
          </a:bodyPr>
          <a:lstStyle>
            <a:lvl1pPr marL="0" indent="0" algn="r">
              <a:buFontTx/>
              <a:buNone/>
              <a:defRPr sz="160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endParaRPr lang="en-US" altLang="ko-KR" dirty="0"/>
          </a:p>
        </p:txBody>
      </p:sp>
      <p:sp>
        <p:nvSpPr>
          <p:cNvPr id="9" name="Text Placeholder 19"/>
          <p:cNvSpPr>
            <a:spLocks noGrp="1"/>
          </p:cNvSpPr>
          <p:nvPr>
            <p:ph type="body" sz="quarter" idx="21" hasCustomPrompt="1"/>
          </p:nvPr>
        </p:nvSpPr>
        <p:spPr>
          <a:xfrm>
            <a:off x="278422" y="748127"/>
            <a:ext cx="9342438" cy="541687"/>
          </a:xfrm>
          <a:prstGeom prst="rect">
            <a:avLst/>
          </a:prstGeom>
        </p:spPr>
        <p:txBody>
          <a:bodyPr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600" u="none" baseline="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ltLang="ko-KR" dirty="0"/>
              <a:t>Head copy Arial 16pt Head copy Arial 16pt Head copy Arial 16pt Head copy Arial 16pt Arial 16pt</a:t>
            </a:r>
          </a:p>
          <a:p>
            <a:pPr marL="0" marR="0" lvl="0" indent="0" algn="l" defTabSz="457200" rtl="0" eaLnBrk="1" fontAlgn="auto" latinLnBrk="0" hangingPunct="1">
              <a:lnSpc>
                <a:spcPct val="100000"/>
              </a:lnSpc>
              <a:spcBef>
                <a:spcPct val="20000"/>
              </a:spcBef>
              <a:spcAft>
                <a:spcPts val="0"/>
              </a:spcAft>
              <a:buClrTx/>
              <a:buSzTx/>
              <a:buFontTx/>
              <a:buNone/>
              <a:tabLst/>
              <a:defRPr/>
            </a:pPr>
            <a:r>
              <a:rPr lang="en-US" altLang="ko-KR" dirty="0"/>
              <a:t>Head copy Arial 16pt Head copy Arial 16pt Head copy Arial 16pt Head copy Arial 16pt Arial 16pt</a:t>
            </a:r>
          </a:p>
        </p:txBody>
      </p:sp>
    </p:spTree>
    <p:extLst>
      <p:ext uri="{BB962C8B-B14F-4D97-AF65-F5344CB8AC3E}">
        <p14:creationId xmlns:p14="http://schemas.microsoft.com/office/powerpoint/2010/main" val="25392687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225388"/>
      </p:ext>
    </p:extLst>
  </p:cSld>
  <p:clrMap bg1="lt1" tx1="dk1" bg2="lt2" tx2="dk2" accent1="accent1" accent2="accent2" accent3="accent3" accent4="accent4" accent5="accent5" accent6="accent6" hlink="hlink" folHlink="folHlink"/>
  <p:sldLayoutIdLst>
    <p:sldLayoutId id="2147483662" r:id="rId1"/>
    <p:sldLayoutId id="2147483664" r:id="rId2"/>
    <p:sldLayoutId id="2147483667" r:id="rId3"/>
    <p:sldLayoutId id="2147483668" r:id="rId4"/>
    <p:sldLayoutId id="2147483669"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image" Target="../media/image39.pn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4.xml"/><Relationship Id="rId16" Type="http://schemas.openxmlformats.org/officeDocument/2006/relationships/image" Target="../media/image52.png"/><Relationship Id="rId1" Type="http://schemas.openxmlformats.org/officeDocument/2006/relationships/slideLayout" Target="../slideLayouts/slideLayout5.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3" Type="http://schemas.openxmlformats.org/officeDocument/2006/relationships/image" Target="../media/image62.png"/><Relationship Id="rId7" Type="http://schemas.openxmlformats.org/officeDocument/2006/relationships/image" Target="../media/image66.svg"/><Relationship Id="rId12" Type="http://schemas.openxmlformats.org/officeDocument/2006/relationships/image" Target="../media/image71.png"/><Relationship Id="rId2" Type="http://schemas.openxmlformats.org/officeDocument/2006/relationships/notesSlide" Target="../notesSlides/notesSlide7.xml"/><Relationship Id="rId16" Type="http://schemas.openxmlformats.org/officeDocument/2006/relationships/image" Target="../media/image74.svg"/><Relationship Id="rId1" Type="http://schemas.openxmlformats.org/officeDocument/2006/relationships/slideLayout" Target="../slideLayouts/slideLayout5.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64.svg"/><Relationship Id="rId15" Type="http://schemas.openxmlformats.org/officeDocument/2006/relationships/image" Target="../media/image46.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svg"/><Relationship Id="rId14" Type="http://schemas.openxmlformats.org/officeDocument/2006/relationships/image" Target="../media/image73.png"/></Relationships>
</file>

<file path=ppt/slides/_rels/slide16.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3.png"/><Relationship Id="rId7" Type="http://schemas.openxmlformats.org/officeDocument/2006/relationships/image" Target="../media/image86.svg"/><Relationship Id="rId2" Type="http://schemas.openxmlformats.org/officeDocument/2006/relationships/image" Target="../media/image75.png"/><Relationship Id="rId1" Type="http://schemas.openxmlformats.org/officeDocument/2006/relationships/slideLayout" Target="../slideLayouts/slideLayout5.xml"/><Relationship Id="rId6" Type="http://schemas.openxmlformats.org/officeDocument/2006/relationships/image" Target="../media/image85.png"/><Relationship Id="rId5" Type="http://schemas.openxmlformats.org/officeDocument/2006/relationships/image" Target="../media/image77.png"/><Relationship Id="rId10" Type="http://schemas.openxmlformats.org/officeDocument/2006/relationships/image" Target="../media/image89.png"/><Relationship Id="rId4" Type="http://schemas.openxmlformats.org/officeDocument/2006/relationships/image" Target="../media/image84.png"/><Relationship Id="rId9" Type="http://schemas.openxmlformats.org/officeDocument/2006/relationships/image" Target="../media/image8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tags" Target="../tags/tag2.xml"/><Relationship Id="rId16" Type="http://schemas.openxmlformats.org/officeDocument/2006/relationships/image" Target="../media/image9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0.png"/><Relationship Id="rId5" Type="http://schemas.openxmlformats.org/officeDocument/2006/relationships/tags" Target="../tags/tag5.xml"/><Relationship Id="rId15" Type="http://schemas.openxmlformats.org/officeDocument/2006/relationships/image" Target="../media/image94.png"/><Relationship Id="rId10"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slideLayout" Target="../slideLayouts/slideLayout5.xml"/><Relationship Id="rId14" Type="http://schemas.openxmlformats.org/officeDocument/2006/relationships/image" Target="../media/image93.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8.png"/><Relationship Id="rId7" Type="http://schemas.openxmlformats.org/officeDocument/2006/relationships/image" Target="../media/image99.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93.jpeg"/><Relationship Id="rId4" Type="http://schemas.openxmlformats.org/officeDocument/2006/relationships/image" Target="../media/image97.png"/><Relationship Id="rId9" Type="http://schemas.openxmlformats.org/officeDocument/2006/relationships/image" Target="../media/image101.png"/></Relationships>
</file>

<file path=ppt/slides/_rels/slide2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5.xml"/><Relationship Id="rId26" Type="http://schemas.openxmlformats.org/officeDocument/2006/relationships/image" Target="../media/image107.png"/><Relationship Id="rId3" Type="http://schemas.openxmlformats.org/officeDocument/2006/relationships/tags" Target="../tags/tag11.xml"/><Relationship Id="rId21" Type="http://schemas.microsoft.com/office/2007/relationships/hdphoto" Target="../media/hdphoto4.wdp"/><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106.pn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image" Target="../media/image102.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05.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104.png"/><Relationship Id="rId28" Type="http://schemas.openxmlformats.org/officeDocument/2006/relationships/image" Target="../media/image109.png"/><Relationship Id="rId10" Type="http://schemas.openxmlformats.org/officeDocument/2006/relationships/tags" Target="../tags/tag18.xml"/><Relationship Id="rId19" Type="http://schemas.openxmlformats.org/officeDocument/2006/relationships/notesSlide" Target="../notesSlides/notesSlide12.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103.png"/><Relationship Id="rId27" Type="http://schemas.openxmlformats.org/officeDocument/2006/relationships/image" Target="../media/image108.png"/></Relationships>
</file>

<file path=ppt/slides/_rels/slide2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5.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5.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svg"/><Relationship Id="rId3" Type="http://schemas.openxmlformats.org/officeDocument/2006/relationships/image" Target="../media/image117.png"/><Relationship Id="rId7" Type="http://schemas.openxmlformats.org/officeDocument/2006/relationships/image" Target="../media/image121.jpeg"/><Relationship Id="rId12" Type="http://schemas.openxmlformats.org/officeDocument/2006/relationships/image" Target="../media/image126.png"/><Relationship Id="rId17" Type="http://schemas.openxmlformats.org/officeDocument/2006/relationships/image" Target="../media/image131.svg"/><Relationship Id="rId2" Type="http://schemas.openxmlformats.org/officeDocument/2006/relationships/notesSlide" Target="../notesSlides/notesSlide14.xml"/><Relationship Id="rId16" Type="http://schemas.openxmlformats.org/officeDocument/2006/relationships/image" Target="../media/image130.png"/><Relationship Id="rId1" Type="http://schemas.openxmlformats.org/officeDocument/2006/relationships/slideLayout" Target="../slideLayouts/slideLayout5.xml"/><Relationship Id="rId6" Type="http://schemas.openxmlformats.org/officeDocument/2006/relationships/image" Target="../media/image120.jpeg"/><Relationship Id="rId11" Type="http://schemas.openxmlformats.org/officeDocument/2006/relationships/image" Target="../media/image125.svg"/><Relationship Id="rId5" Type="http://schemas.openxmlformats.org/officeDocument/2006/relationships/image" Target="../media/image119.png"/><Relationship Id="rId15" Type="http://schemas.openxmlformats.org/officeDocument/2006/relationships/image" Target="../media/image129.svg"/><Relationship Id="rId10" Type="http://schemas.openxmlformats.org/officeDocument/2006/relationships/image" Target="../media/image124.png"/><Relationship Id="rId4" Type="http://schemas.openxmlformats.org/officeDocument/2006/relationships/image" Target="../media/image118.jpeg"/><Relationship Id="rId9" Type="http://schemas.openxmlformats.org/officeDocument/2006/relationships/image" Target="../media/image123.svg"/><Relationship Id="rId14" Type="http://schemas.openxmlformats.org/officeDocument/2006/relationships/image" Target="../media/image12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55.png"/><Relationship Id="rId7" Type="http://schemas.openxmlformats.org/officeDocument/2006/relationships/image" Target="../media/image135.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134.jpe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s>
</file>

<file path=ppt/slides/_rels/slide2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jpe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hyperlink" Target="https://www.safeopedia.com/definition/1356/ventilation-environmental-health--safety"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41.png"/></Relationships>
</file>

<file path=ppt/slides/_rels/slide3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142.png"/></Relationships>
</file>

<file path=ppt/slides/_rels/slide32.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5.png"/><Relationship Id="rId7"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80.svg"/><Relationship Id="rId10" Type="http://schemas.openxmlformats.org/officeDocument/2006/relationships/image" Target="../media/image147.png"/><Relationship Id="rId4" Type="http://schemas.openxmlformats.org/officeDocument/2006/relationships/image" Target="../media/image79.png"/><Relationship Id="rId9" Type="http://schemas.openxmlformats.org/officeDocument/2006/relationships/image" Target="../media/image146.png"/></Relationships>
</file>

<file path=ppt/slides/_rels/slide33.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9.png"/><Relationship Id="rId7" Type="http://schemas.openxmlformats.org/officeDocument/2006/relationships/image" Target="../media/image152.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43.png"/><Relationship Id="rId11" Type="http://schemas.openxmlformats.org/officeDocument/2006/relationships/image" Target="../media/image156.png"/><Relationship Id="rId5" Type="http://schemas.openxmlformats.org/officeDocument/2006/relationships/image" Target="../media/image151.png"/><Relationship Id="rId10" Type="http://schemas.openxmlformats.org/officeDocument/2006/relationships/image" Target="../media/image155.png"/><Relationship Id="rId4" Type="http://schemas.openxmlformats.org/officeDocument/2006/relationships/image" Target="../media/image150.png"/><Relationship Id="rId9" Type="http://schemas.openxmlformats.org/officeDocument/2006/relationships/image" Target="../media/image154.png"/></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hyperlink" Target="https://lghvac.com/residential-light-commercial/product-type/?productTypeId=a2x6g000000S543&amp;iscommercial=false&amp;class=Accessories"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159.png"/><Relationship Id="rId4" Type="http://schemas.openxmlformats.org/officeDocument/2006/relationships/image" Target="../media/image158.png"/></Relationships>
</file>

<file path=ppt/slides/_rels/slide38.xml.rels><?xml version="1.0" encoding="UTF-8" standalone="yes"?>
<Relationships xmlns="http://schemas.openxmlformats.org/package/2006/relationships"><Relationship Id="rId3" Type="http://schemas.openxmlformats.org/officeDocument/2006/relationships/hyperlink" Target="https://lghvac.lightning.force.com/lightning/r/ContentDocument/0696g00000QB3asAAD/view"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61.png"/><Relationship Id="rId4" Type="http://schemas.openxmlformats.org/officeDocument/2006/relationships/image" Target="../media/image160.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www.detroitnews.com/story/life/home-garden/2022/12/07/the-inside-outside-guys-the-air-we-breathe/69685406007/" TargetMode="External"/><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13" Type="http://schemas.microsoft.com/office/2007/relationships/hdphoto" Target="../media/hdphoto1.wdp"/><Relationship Id="rId18" Type="http://schemas.openxmlformats.org/officeDocument/2006/relationships/image" Target="../media/image27.png"/><Relationship Id="rId26" Type="http://schemas.microsoft.com/office/2007/relationships/hdphoto" Target="../media/hdphoto2.wdp"/><Relationship Id="rId3" Type="http://schemas.openxmlformats.org/officeDocument/2006/relationships/image" Target="../media/image13.jpeg"/><Relationship Id="rId21" Type="http://schemas.openxmlformats.org/officeDocument/2006/relationships/image" Target="../media/image3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image" Target="../media/image12.png"/><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3.png"/><Relationship Id="rId5" Type="http://schemas.openxmlformats.org/officeDocument/2006/relationships/image" Target="../media/image15.png"/><Relationship Id="rId15" Type="http://schemas.openxmlformats.org/officeDocument/2006/relationships/image" Target="../media/image24.png"/><Relationship Id="rId23" Type="http://schemas.openxmlformats.org/officeDocument/2006/relationships/image" Target="../media/image32.png"/><Relationship Id="rId28" Type="http://schemas.microsoft.com/office/2007/relationships/hdphoto" Target="../media/hdphoto3.wdp"/><Relationship Id="rId10" Type="http://schemas.openxmlformats.org/officeDocument/2006/relationships/image" Target="../media/image20.png"/><Relationship Id="rId19" Type="http://schemas.openxmlformats.org/officeDocument/2006/relationships/image" Target="../media/image28.png"/><Relationship Id="rId4" Type="http://schemas.openxmlformats.org/officeDocument/2006/relationships/image" Target="../media/image14.jpeg"/><Relationship Id="rId9" Type="http://schemas.openxmlformats.org/officeDocument/2006/relationships/image" Target="../media/image19.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실내, 창문, 방, 건물이(가) 표시된 사진&#10;&#10;자동 생성된 설명">
            <a:extLst>
              <a:ext uri="{FF2B5EF4-FFF2-40B4-BE49-F238E27FC236}">
                <a16:creationId xmlns:a16="http://schemas.microsoft.com/office/drawing/2014/main" id="{BB4A7B83-9ECD-46B8-A205-99B6A17D0BE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0"/>
            <a:ext cx="9438001" cy="6858000"/>
          </a:xfrm>
          <a:prstGeom prst="rect">
            <a:avLst/>
          </a:prstGeom>
        </p:spPr>
      </p:pic>
      <p:grpSp>
        <p:nvGrpSpPr>
          <p:cNvPr id="5" name="그룹 4">
            <a:extLst>
              <a:ext uri="{FF2B5EF4-FFF2-40B4-BE49-F238E27FC236}">
                <a16:creationId xmlns:a16="http://schemas.microsoft.com/office/drawing/2014/main" id="{5117886F-A7A1-403F-AC61-9D36A0418AD2}"/>
              </a:ext>
            </a:extLst>
          </p:cNvPr>
          <p:cNvGrpSpPr/>
          <p:nvPr/>
        </p:nvGrpSpPr>
        <p:grpSpPr>
          <a:xfrm>
            <a:off x="5004650" y="1580118"/>
            <a:ext cx="4466159" cy="1725035"/>
            <a:chOff x="2288962" y="4568164"/>
            <a:chExt cx="4466159" cy="1725035"/>
          </a:xfrm>
        </p:grpSpPr>
        <p:sp>
          <p:nvSpPr>
            <p:cNvPr id="6" name="TextBox 5">
              <a:extLst>
                <a:ext uri="{FF2B5EF4-FFF2-40B4-BE49-F238E27FC236}">
                  <a16:creationId xmlns:a16="http://schemas.microsoft.com/office/drawing/2014/main" id="{EB88F2D5-6CD2-4CEF-ACAC-54F57A90D38F}"/>
                </a:ext>
              </a:extLst>
            </p:cNvPr>
            <p:cNvSpPr txBox="1"/>
            <p:nvPr/>
          </p:nvSpPr>
          <p:spPr>
            <a:xfrm>
              <a:off x="2370662" y="5400647"/>
              <a:ext cx="4124847" cy="892552"/>
            </a:xfrm>
            <a:prstGeom prst="rect">
              <a:avLst/>
            </a:prstGeom>
            <a:noFill/>
          </p:spPr>
          <p:txBody>
            <a:bodyPr wrap="none" rtlCol="0" anchor="ctr">
              <a:spAutoFit/>
            </a:bodyPr>
            <a:lstStyle/>
            <a:p>
              <a:r>
                <a:rPr lang="en-US" altLang="ko-KR" sz="3200" b="1" dirty="0">
                  <a:solidFill>
                    <a:srgbClr val="000000"/>
                  </a:solidFill>
                  <a:latin typeface="Arial" panose="020B0604020202020204" pitchFamily="34" charset="0"/>
                  <a:ea typeface="LG스마트체 Regular" panose="020B0600000101010101" pitchFamily="50" charset="-127"/>
                  <a:cs typeface="Arial" panose="020B0604020202020204" pitchFamily="34" charset="0"/>
                </a:rPr>
                <a:t>LG Residential </a:t>
              </a:r>
              <a:r>
                <a:rPr lang="en-US" altLang="ko-KR" sz="3200" b="1" i="1" dirty="0">
                  <a:solidFill>
                    <a:srgbClr val="000000"/>
                  </a:solidFill>
                  <a:latin typeface="Arial" panose="020B0604020202020204" pitchFamily="34" charset="0"/>
                  <a:ea typeface="LG스마트체 Regular" panose="020B0600000101010101" pitchFamily="50" charset="-127"/>
                  <a:cs typeface="Arial" panose="020B0604020202020204" pitchFamily="34" charset="0"/>
                </a:rPr>
                <a:t>ERV </a:t>
              </a:r>
            </a:p>
            <a:p>
              <a:r>
                <a:rPr lang="en-US" altLang="ko-KR" sz="2000" b="1" i="1" dirty="0">
                  <a:solidFill>
                    <a:srgbClr val="000000"/>
                  </a:solidFill>
                  <a:latin typeface="Arial" panose="020B0604020202020204" pitchFamily="34" charset="0"/>
                  <a:ea typeface="LG스마트체 Regular" panose="020B0600000101010101" pitchFamily="50" charset="-127"/>
                  <a:cs typeface="Arial" panose="020B0604020202020204" pitchFamily="34" charset="0"/>
                </a:rPr>
                <a:t>(Energy Recovery Ventilation)</a:t>
              </a:r>
            </a:p>
          </p:txBody>
        </p:sp>
        <p:sp>
          <p:nvSpPr>
            <p:cNvPr id="7" name="TextBox 6">
              <a:extLst>
                <a:ext uri="{FF2B5EF4-FFF2-40B4-BE49-F238E27FC236}">
                  <a16:creationId xmlns:a16="http://schemas.microsoft.com/office/drawing/2014/main" id="{85E9D25E-DE58-4031-8BA3-3AA10303538E}"/>
                </a:ext>
              </a:extLst>
            </p:cNvPr>
            <p:cNvSpPr txBox="1"/>
            <p:nvPr/>
          </p:nvSpPr>
          <p:spPr>
            <a:xfrm>
              <a:off x="2288962" y="4568164"/>
              <a:ext cx="4466159" cy="656077"/>
            </a:xfrm>
            <a:prstGeom prst="rect">
              <a:avLst/>
            </a:prstGeom>
            <a:noFill/>
          </p:spPr>
          <p:txBody>
            <a:bodyPr wrap="none" rtlCol="0" anchor="ctr">
              <a:spAutoFit/>
            </a:bodyPr>
            <a:lstStyle/>
            <a:p>
              <a:pPr>
                <a:lnSpc>
                  <a:spcPct val="120000"/>
                </a:lnSpc>
              </a:pPr>
              <a:endParaRPr lang="en-US" altLang="ko-KR" sz="1600" dirty="0">
                <a:latin typeface="Arial" panose="020B0604020202020204" pitchFamily="34" charset="0"/>
                <a:ea typeface="LG스마트체 Regular" panose="020B0600000101010101" pitchFamily="50" charset="-127"/>
                <a:cs typeface="Arial" panose="020B0604020202020204" pitchFamily="34" charset="0"/>
              </a:endParaRPr>
            </a:p>
            <a:p>
              <a:pPr>
                <a:lnSpc>
                  <a:spcPct val="120000"/>
                </a:lnSpc>
              </a:pPr>
              <a:r>
                <a:rPr lang="en-US" altLang="ko-KR" sz="1600" b="1" dirty="0">
                  <a:solidFill>
                    <a:srgbClr val="A50034"/>
                  </a:solidFill>
                  <a:latin typeface="Arial" panose="020B0604020202020204" pitchFamily="34" charset="0"/>
                  <a:ea typeface="LG스마트체 Regular" panose="020B0600000101010101" pitchFamily="50" charset="-127"/>
                  <a:cs typeface="Arial" panose="020B0604020202020204" pitchFamily="34" charset="0"/>
                </a:rPr>
                <a:t>Ventilation </a:t>
              </a:r>
              <a:r>
                <a:rPr lang="en-US" altLang="ko-KR" sz="1600" dirty="0">
                  <a:latin typeface="Arial" panose="020B0604020202020204" pitchFamily="34" charset="0"/>
                  <a:ea typeface="LG스마트체 Regular" panose="020B0600000101010101" pitchFamily="50" charset="-127"/>
                  <a:cs typeface="Arial" panose="020B0604020202020204" pitchFamily="34" charset="0"/>
                </a:rPr>
                <a:t>to make my home breathe properly</a:t>
              </a:r>
            </a:p>
          </p:txBody>
        </p:sp>
      </p:grpSp>
      <p:pic>
        <p:nvPicPr>
          <p:cNvPr id="14" name="그림 13">
            <a:extLst>
              <a:ext uri="{FF2B5EF4-FFF2-40B4-BE49-F238E27FC236}">
                <a16:creationId xmlns:a16="http://schemas.microsoft.com/office/drawing/2014/main" id="{400999A0-CDA0-4B8B-997E-14E18CD16E1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84385" y="4095750"/>
            <a:ext cx="4819650" cy="2762250"/>
          </a:xfrm>
          <a:prstGeom prst="rect">
            <a:avLst/>
          </a:prstGeom>
        </p:spPr>
      </p:pic>
    </p:spTree>
    <p:extLst>
      <p:ext uri="{BB962C8B-B14F-4D97-AF65-F5344CB8AC3E}">
        <p14:creationId xmlns:p14="http://schemas.microsoft.com/office/powerpoint/2010/main" val="39937507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그림 119"/>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316959" y="5437019"/>
            <a:ext cx="704703" cy="695919"/>
          </a:xfrm>
          <a:prstGeom prst="rect">
            <a:avLst/>
          </a:prstGeom>
        </p:spPr>
      </p:pic>
      <p:sp>
        <p:nvSpPr>
          <p:cNvPr id="199" name="자유형: 도형 51">
            <a:extLst>
              <a:ext uri="{FF2B5EF4-FFF2-40B4-BE49-F238E27FC236}">
                <a16:creationId xmlns:a16="http://schemas.microsoft.com/office/drawing/2014/main" id="{494753C7-F1D1-41CA-8349-EA56078F025C}"/>
              </a:ext>
            </a:extLst>
          </p:cNvPr>
          <p:cNvSpPr/>
          <p:nvPr/>
        </p:nvSpPr>
        <p:spPr>
          <a:xfrm>
            <a:off x="3539541" y="2488535"/>
            <a:ext cx="2791409" cy="2768593"/>
          </a:xfrm>
          <a:custGeom>
            <a:avLst/>
            <a:gdLst>
              <a:gd name="connsiteX0" fmla="*/ 1590126 w 3286708"/>
              <a:gd name="connsiteY0" fmla="*/ 263881 h 3044818"/>
              <a:gd name="connsiteX1" fmla="*/ 272045 w 3286708"/>
              <a:gd name="connsiteY1" fmla="*/ 1581962 h 3044818"/>
              <a:gd name="connsiteX2" fmla="*/ 1590126 w 3286708"/>
              <a:gd name="connsiteY2" fmla="*/ 2900043 h 3044818"/>
              <a:gd name="connsiteX3" fmla="*/ 2908207 w 3286708"/>
              <a:gd name="connsiteY3" fmla="*/ 1581962 h 3044818"/>
              <a:gd name="connsiteX4" fmla="*/ 1590126 w 3286708"/>
              <a:gd name="connsiteY4" fmla="*/ 263881 h 3044818"/>
              <a:gd name="connsiteX5" fmla="*/ 0 w 3286708"/>
              <a:gd name="connsiteY5" fmla="*/ 0 h 3044818"/>
              <a:gd name="connsiteX6" fmla="*/ 3286708 w 3286708"/>
              <a:gd name="connsiteY6" fmla="*/ 0 h 3044818"/>
              <a:gd name="connsiteX7" fmla="*/ 3286708 w 3286708"/>
              <a:gd name="connsiteY7" fmla="*/ 3044818 h 3044818"/>
              <a:gd name="connsiteX8" fmla="*/ 0 w 3286708"/>
              <a:gd name="connsiteY8" fmla="*/ 3044818 h 3044818"/>
              <a:gd name="connsiteX0" fmla="*/ 1590126 w 3286708"/>
              <a:gd name="connsiteY0" fmla="*/ 263881 h 3044818"/>
              <a:gd name="connsiteX1" fmla="*/ 272045 w 3286708"/>
              <a:gd name="connsiteY1" fmla="*/ 1581962 h 3044818"/>
              <a:gd name="connsiteX2" fmla="*/ 1590126 w 3286708"/>
              <a:gd name="connsiteY2" fmla="*/ 2900043 h 3044818"/>
              <a:gd name="connsiteX3" fmla="*/ 2908207 w 3286708"/>
              <a:gd name="connsiteY3" fmla="*/ 1581962 h 3044818"/>
              <a:gd name="connsiteX4" fmla="*/ 1590126 w 3286708"/>
              <a:gd name="connsiteY4" fmla="*/ 263881 h 3044818"/>
              <a:gd name="connsiteX5" fmla="*/ 409575 w 3286708"/>
              <a:gd name="connsiteY5" fmla="*/ 361950 h 3044818"/>
              <a:gd name="connsiteX6" fmla="*/ 3286708 w 3286708"/>
              <a:gd name="connsiteY6" fmla="*/ 0 h 3044818"/>
              <a:gd name="connsiteX7" fmla="*/ 3286708 w 3286708"/>
              <a:gd name="connsiteY7" fmla="*/ 3044818 h 3044818"/>
              <a:gd name="connsiteX8" fmla="*/ 0 w 3286708"/>
              <a:gd name="connsiteY8" fmla="*/ 3044818 h 3044818"/>
              <a:gd name="connsiteX9" fmla="*/ 409575 w 3286708"/>
              <a:gd name="connsiteY9" fmla="*/ 361950 h 3044818"/>
              <a:gd name="connsiteX0" fmla="*/ 1318663 w 3015245"/>
              <a:gd name="connsiteY0" fmla="*/ 263881 h 3044818"/>
              <a:gd name="connsiteX1" fmla="*/ 582 w 3015245"/>
              <a:gd name="connsiteY1" fmla="*/ 1581962 h 3044818"/>
              <a:gd name="connsiteX2" fmla="*/ 1318663 w 3015245"/>
              <a:gd name="connsiteY2" fmla="*/ 2900043 h 3044818"/>
              <a:gd name="connsiteX3" fmla="*/ 2636744 w 3015245"/>
              <a:gd name="connsiteY3" fmla="*/ 1581962 h 3044818"/>
              <a:gd name="connsiteX4" fmla="*/ 1318663 w 3015245"/>
              <a:gd name="connsiteY4" fmla="*/ 263881 h 3044818"/>
              <a:gd name="connsiteX5" fmla="*/ 138112 w 3015245"/>
              <a:gd name="connsiteY5" fmla="*/ 361950 h 3044818"/>
              <a:gd name="connsiteX6" fmla="*/ 3015245 w 3015245"/>
              <a:gd name="connsiteY6" fmla="*/ 0 h 3044818"/>
              <a:gd name="connsiteX7" fmla="*/ 3015245 w 3015245"/>
              <a:gd name="connsiteY7" fmla="*/ 3044818 h 3044818"/>
              <a:gd name="connsiteX8" fmla="*/ 0 w 3015245"/>
              <a:gd name="connsiteY8" fmla="*/ 2840031 h 3044818"/>
              <a:gd name="connsiteX9" fmla="*/ 138112 w 3015245"/>
              <a:gd name="connsiteY9" fmla="*/ 361950 h 3044818"/>
              <a:gd name="connsiteX0" fmla="*/ 1318664 w 3015246"/>
              <a:gd name="connsiteY0" fmla="*/ 263881 h 3044818"/>
              <a:gd name="connsiteX1" fmla="*/ 583 w 3015246"/>
              <a:gd name="connsiteY1" fmla="*/ 1581962 h 3044818"/>
              <a:gd name="connsiteX2" fmla="*/ 1318664 w 3015246"/>
              <a:gd name="connsiteY2" fmla="*/ 2900043 h 3044818"/>
              <a:gd name="connsiteX3" fmla="*/ 2636745 w 3015246"/>
              <a:gd name="connsiteY3" fmla="*/ 1581962 h 3044818"/>
              <a:gd name="connsiteX4" fmla="*/ 1318664 w 3015246"/>
              <a:gd name="connsiteY4" fmla="*/ 263881 h 3044818"/>
              <a:gd name="connsiteX5" fmla="*/ 0 w 3015246"/>
              <a:gd name="connsiteY5" fmla="*/ 352425 h 3044818"/>
              <a:gd name="connsiteX6" fmla="*/ 3015246 w 3015246"/>
              <a:gd name="connsiteY6" fmla="*/ 0 h 3044818"/>
              <a:gd name="connsiteX7" fmla="*/ 3015246 w 3015246"/>
              <a:gd name="connsiteY7" fmla="*/ 3044818 h 3044818"/>
              <a:gd name="connsiteX8" fmla="*/ 1 w 3015246"/>
              <a:gd name="connsiteY8" fmla="*/ 2840031 h 3044818"/>
              <a:gd name="connsiteX9" fmla="*/ 0 w 3015246"/>
              <a:gd name="connsiteY9" fmla="*/ 352425 h 3044818"/>
              <a:gd name="connsiteX0" fmla="*/ 1318664 w 3015246"/>
              <a:gd name="connsiteY0" fmla="*/ 263881 h 2935280"/>
              <a:gd name="connsiteX1" fmla="*/ 583 w 3015246"/>
              <a:gd name="connsiteY1" fmla="*/ 1581962 h 2935280"/>
              <a:gd name="connsiteX2" fmla="*/ 1318664 w 3015246"/>
              <a:gd name="connsiteY2" fmla="*/ 2900043 h 2935280"/>
              <a:gd name="connsiteX3" fmla="*/ 2636745 w 3015246"/>
              <a:gd name="connsiteY3" fmla="*/ 1581962 h 2935280"/>
              <a:gd name="connsiteX4" fmla="*/ 1318664 w 3015246"/>
              <a:gd name="connsiteY4" fmla="*/ 263881 h 2935280"/>
              <a:gd name="connsiteX5" fmla="*/ 0 w 3015246"/>
              <a:gd name="connsiteY5" fmla="*/ 352425 h 2935280"/>
              <a:gd name="connsiteX6" fmla="*/ 3015246 w 3015246"/>
              <a:gd name="connsiteY6" fmla="*/ 0 h 2935280"/>
              <a:gd name="connsiteX7" fmla="*/ 2438984 w 3015246"/>
              <a:gd name="connsiteY7" fmla="*/ 2935280 h 2935280"/>
              <a:gd name="connsiteX8" fmla="*/ 1 w 3015246"/>
              <a:gd name="connsiteY8" fmla="*/ 2840031 h 2935280"/>
              <a:gd name="connsiteX9" fmla="*/ 0 w 3015246"/>
              <a:gd name="connsiteY9" fmla="*/ 352425 h 2935280"/>
              <a:gd name="connsiteX0" fmla="*/ 1318664 w 2834271"/>
              <a:gd name="connsiteY0" fmla="*/ 78143 h 2749542"/>
              <a:gd name="connsiteX1" fmla="*/ 583 w 2834271"/>
              <a:gd name="connsiteY1" fmla="*/ 1396224 h 2749542"/>
              <a:gd name="connsiteX2" fmla="*/ 1318664 w 2834271"/>
              <a:gd name="connsiteY2" fmla="*/ 2714305 h 2749542"/>
              <a:gd name="connsiteX3" fmla="*/ 2636745 w 2834271"/>
              <a:gd name="connsiteY3" fmla="*/ 1396224 h 2749542"/>
              <a:gd name="connsiteX4" fmla="*/ 1318664 w 2834271"/>
              <a:gd name="connsiteY4" fmla="*/ 78143 h 2749542"/>
              <a:gd name="connsiteX5" fmla="*/ 0 w 2834271"/>
              <a:gd name="connsiteY5" fmla="*/ 166687 h 2749542"/>
              <a:gd name="connsiteX6" fmla="*/ 2834271 w 2834271"/>
              <a:gd name="connsiteY6" fmla="*/ 0 h 2749542"/>
              <a:gd name="connsiteX7" fmla="*/ 2438984 w 2834271"/>
              <a:gd name="connsiteY7" fmla="*/ 2749542 h 2749542"/>
              <a:gd name="connsiteX8" fmla="*/ 1 w 2834271"/>
              <a:gd name="connsiteY8" fmla="*/ 2654293 h 2749542"/>
              <a:gd name="connsiteX9" fmla="*/ 0 w 2834271"/>
              <a:gd name="connsiteY9" fmla="*/ 166687 h 2749542"/>
              <a:gd name="connsiteX0" fmla="*/ 1318664 w 2834271"/>
              <a:gd name="connsiteY0" fmla="*/ 78143 h 2749542"/>
              <a:gd name="connsiteX1" fmla="*/ 583 w 2834271"/>
              <a:gd name="connsiteY1" fmla="*/ 1396224 h 2749542"/>
              <a:gd name="connsiteX2" fmla="*/ 1318664 w 2834271"/>
              <a:gd name="connsiteY2" fmla="*/ 2714305 h 2749542"/>
              <a:gd name="connsiteX3" fmla="*/ 2636745 w 2834271"/>
              <a:gd name="connsiteY3" fmla="*/ 1396224 h 2749542"/>
              <a:gd name="connsiteX4" fmla="*/ 1318664 w 2834271"/>
              <a:gd name="connsiteY4" fmla="*/ 78143 h 2749542"/>
              <a:gd name="connsiteX5" fmla="*/ 0 w 2834271"/>
              <a:gd name="connsiteY5" fmla="*/ 166687 h 2749542"/>
              <a:gd name="connsiteX6" fmla="*/ 2834271 w 2834271"/>
              <a:gd name="connsiteY6" fmla="*/ 0 h 2749542"/>
              <a:gd name="connsiteX7" fmla="*/ 2610434 w 2834271"/>
              <a:gd name="connsiteY7" fmla="*/ 2749542 h 2749542"/>
              <a:gd name="connsiteX8" fmla="*/ 1 w 2834271"/>
              <a:gd name="connsiteY8" fmla="*/ 2654293 h 2749542"/>
              <a:gd name="connsiteX9" fmla="*/ 0 w 2834271"/>
              <a:gd name="connsiteY9" fmla="*/ 166687 h 2749542"/>
              <a:gd name="connsiteX0" fmla="*/ 1318664 w 2700921"/>
              <a:gd name="connsiteY0" fmla="*/ 63856 h 2735255"/>
              <a:gd name="connsiteX1" fmla="*/ 583 w 2700921"/>
              <a:gd name="connsiteY1" fmla="*/ 1381937 h 2735255"/>
              <a:gd name="connsiteX2" fmla="*/ 1318664 w 2700921"/>
              <a:gd name="connsiteY2" fmla="*/ 2700018 h 2735255"/>
              <a:gd name="connsiteX3" fmla="*/ 2636745 w 2700921"/>
              <a:gd name="connsiteY3" fmla="*/ 1381937 h 2735255"/>
              <a:gd name="connsiteX4" fmla="*/ 1318664 w 2700921"/>
              <a:gd name="connsiteY4" fmla="*/ 63856 h 2735255"/>
              <a:gd name="connsiteX5" fmla="*/ 0 w 2700921"/>
              <a:gd name="connsiteY5" fmla="*/ 152400 h 2735255"/>
              <a:gd name="connsiteX6" fmla="*/ 2700921 w 2700921"/>
              <a:gd name="connsiteY6" fmla="*/ 0 h 2735255"/>
              <a:gd name="connsiteX7" fmla="*/ 2610434 w 2700921"/>
              <a:gd name="connsiteY7" fmla="*/ 2735255 h 2735255"/>
              <a:gd name="connsiteX8" fmla="*/ 1 w 2700921"/>
              <a:gd name="connsiteY8" fmla="*/ 2640006 h 2735255"/>
              <a:gd name="connsiteX9" fmla="*/ 0 w 2700921"/>
              <a:gd name="connsiteY9" fmla="*/ 152400 h 2735255"/>
              <a:gd name="connsiteX0" fmla="*/ 1318664 w 2729496"/>
              <a:gd name="connsiteY0" fmla="*/ 68618 h 2740017"/>
              <a:gd name="connsiteX1" fmla="*/ 583 w 2729496"/>
              <a:gd name="connsiteY1" fmla="*/ 1386699 h 2740017"/>
              <a:gd name="connsiteX2" fmla="*/ 1318664 w 2729496"/>
              <a:gd name="connsiteY2" fmla="*/ 2704780 h 2740017"/>
              <a:gd name="connsiteX3" fmla="*/ 2636745 w 2729496"/>
              <a:gd name="connsiteY3" fmla="*/ 1386699 h 2740017"/>
              <a:gd name="connsiteX4" fmla="*/ 1318664 w 2729496"/>
              <a:gd name="connsiteY4" fmla="*/ 68618 h 2740017"/>
              <a:gd name="connsiteX5" fmla="*/ 0 w 2729496"/>
              <a:gd name="connsiteY5" fmla="*/ 157162 h 2740017"/>
              <a:gd name="connsiteX6" fmla="*/ 2729496 w 2729496"/>
              <a:gd name="connsiteY6" fmla="*/ 0 h 2740017"/>
              <a:gd name="connsiteX7" fmla="*/ 2610434 w 2729496"/>
              <a:gd name="connsiteY7" fmla="*/ 2740017 h 2740017"/>
              <a:gd name="connsiteX8" fmla="*/ 1 w 2729496"/>
              <a:gd name="connsiteY8" fmla="*/ 2644768 h 2740017"/>
              <a:gd name="connsiteX9" fmla="*/ 0 w 2729496"/>
              <a:gd name="connsiteY9" fmla="*/ 157162 h 2740017"/>
              <a:gd name="connsiteX0" fmla="*/ 1318664 w 2729496"/>
              <a:gd name="connsiteY0" fmla="*/ 68618 h 2740017"/>
              <a:gd name="connsiteX1" fmla="*/ 583 w 2729496"/>
              <a:gd name="connsiteY1" fmla="*/ 1386699 h 2740017"/>
              <a:gd name="connsiteX2" fmla="*/ 1318664 w 2729496"/>
              <a:gd name="connsiteY2" fmla="*/ 2704780 h 2740017"/>
              <a:gd name="connsiteX3" fmla="*/ 2636745 w 2729496"/>
              <a:gd name="connsiteY3" fmla="*/ 1386699 h 2740017"/>
              <a:gd name="connsiteX4" fmla="*/ 1318664 w 2729496"/>
              <a:gd name="connsiteY4" fmla="*/ 68618 h 2740017"/>
              <a:gd name="connsiteX5" fmla="*/ 0 w 2729496"/>
              <a:gd name="connsiteY5" fmla="*/ 157162 h 2740017"/>
              <a:gd name="connsiteX6" fmla="*/ 2729496 w 2729496"/>
              <a:gd name="connsiteY6" fmla="*/ 0 h 2740017"/>
              <a:gd name="connsiteX7" fmla="*/ 2648534 w 2729496"/>
              <a:gd name="connsiteY7" fmla="*/ 2740017 h 2740017"/>
              <a:gd name="connsiteX8" fmla="*/ 1 w 2729496"/>
              <a:gd name="connsiteY8" fmla="*/ 2644768 h 2740017"/>
              <a:gd name="connsiteX9" fmla="*/ 0 w 2729496"/>
              <a:gd name="connsiteY9" fmla="*/ 157162 h 2740017"/>
              <a:gd name="connsiteX0" fmla="*/ 1352002 w 2762834"/>
              <a:gd name="connsiteY0" fmla="*/ 68618 h 2740017"/>
              <a:gd name="connsiteX1" fmla="*/ 33921 w 2762834"/>
              <a:gd name="connsiteY1" fmla="*/ 1386699 h 2740017"/>
              <a:gd name="connsiteX2" fmla="*/ 1352002 w 2762834"/>
              <a:gd name="connsiteY2" fmla="*/ 2704780 h 2740017"/>
              <a:gd name="connsiteX3" fmla="*/ 2670083 w 2762834"/>
              <a:gd name="connsiteY3" fmla="*/ 1386699 h 2740017"/>
              <a:gd name="connsiteX4" fmla="*/ 1352002 w 2762834"/>
              <a:gd name="connsiteY4" fmla="*/ 68618 h 2740017"/>
              <a:gd name="connsiteX5" fmla="*/ 0 w 2762834"/>
              <a:gd name="connsiteY5" fmla="*/ 47625 h 2740017"/>
              <a:gd name="connsiteX6" fmla="*/ 2762834 w 2762834"/>
              <a:gd name="connsiteY6" fmla="*/ 0 h 2740017"/>
              <a:gd name="connsiteX7" fmla="*/ 2681872 w 2762834"/>
              <a:gd name="connsiteY7" fmla="*/ 2740017 h 2740017"/>
              <a:gd name="connsiteX8" fmla="*/ 33339 w 2762834"/>
              <a:gd name="connsiteY8" fmla="*/ 2644768 h 2740017"/>
              <a:gd name="connsiteX9" fmla="*/ 0 w 2762834"/>
              <a:gd name="connsiteY9" fmla="*/ 47625 h 2740017"/>
              <a:gd name="connsiteX0" fmla="*/ 1380577 w 2791409"/>
              <a:gd name="connsiteY0" fmla="*/ 68618 h 2740017"/>
              <a:gd name="connsiteX1" fmla="*/ 62496 w 2791409"/>
              <a:gd name="connsiteY1" fmla="*/ 1386699 h 2740017"/>
              <a:gd name="connsiteX2" fmla="*/ 1380577 w 2791409"/>
              <a:gd name="connsiteY2" fmla="*/ 2704780 h 2740017"/>
              <a:gd name="connsiteX3" fmla="*/ 2698658 w 2791409"/>
              <a:gd name="connsiteY3" fmla="*/ 1386699 h 2740017"/>
              <a:gd name="connsiteX4" fmla="*/ 1380577 w 2791409"/>
              <a:gd name="connsiteY4" fmla="*/ 68618 h 2740017"/>
              <a:gd name="connsiteX5" fmla="*/ 0 w 2791409"/>
              <a:gd name="connsiteY5" fmla="*/ 47625 h 2740017"/>
              <a:gd name="connsiteX6" fmla="*/ 2791409 w 2791409"/>
              <a:gd name="connsiteY6" fmla="*/ 0 h 2740017"/>
              <a:gd name="connsiteX7" fmla="*/ 2710447 w 2791409"/>
              <a:gd name="connsiteY7" fmla="*/ 2740017 h 2740017"/>
              <a:gd name="connsiteX8" fmla="*/ 61914 w 2791409"/>
              <a:gd name="connsiteY8" fmla="*/ 2644768 h 2740017"/>
              <a:gd name="connsiteX9" fmla="*/ 0 w 2791409"/>
              <a:gd name="connsiteY9" fmla="*/ 47625 h 2740017"/>
              <a:gd name="connsiteX0" fmla="*/ 1380577 w 2791409"/>
              <a:gd name="connsiteY0" fmla="*/ 68618 h 2740017"/>
              <a:gd name="connsiteX1" fmla="*/ 62496 w 2791409"/>
              <a:gd name="connsiteY1" fmla="*/ 1386699 h 2740017"/>
              <a:gd name="connsiteX2" fmla="*/ 1380577 w 2791409"/>
              <a:gd name="connsiteY2" fmla="*/ 2704780 h 2740017"/>
              <a:gd name="connsiteX3" fmla="*/ 2698658 w 2791409"/>
              <a:gd name="connsiteY3" fmla="*/ 1386699 h 2740017"/>
              <a:gd name="connsiteX4" fmla="*/ 1380577 w 2791409"/>
              <a:gd name="connsiteY4" fmla="*/ 68618 h 2740017"/>
              <a:gd name="connsiteX5" fmla="*/ 0 w 2791409"/>
              <a:gd name="connsiteY5" fmla="*/ 47625 h 2740017"/>
              <a:gd name="connsiteX6" fmla="*/ 2791409 w 2791409"/>
              <a:gd name="connsiteY6" fmla="*/ 0 h 2740017"/>
              <a:gd name="connsiteX7" fmla="*/ 2710447 w 2791409"/>
              <a:gd name="connsiteY7" fmla="*/ 2740017 h 2740017"/>
              <a:gd name="connsiteX8" fmla="*/ 19052 w 2791409"/>
              <a:gd name="connsiteY8" fmla="*/ 2701918 h 2740017"/>
              <a:gd name="connsiteX9" fmla="*/ 0 w 2791409"/>
              <a:gd name="connsiteY9" fmla="*/ 47625 h 2740017"/>
              <a:gd name="connsiteX0" fmla="*/ 1380577 w 2791409"/>
              <a:gd name="connsiteY0" fmla="*/ 68618 h 2768593"/>
              <a:gd name="connsiteX1" fmla="*/ 62496 w 2791409"/>
              <a:gd name="connsiteY1" fmla="*/ 1386699 h 2768593"/>
              <a:gd name="connsiteX2" fmla="*/ 1380577 w 2791409"/>
              <a:gd name="connsiteY2" fmla="*/ 2704780 h 2768593"/>
              <a:gd name="connsiteX3" fmla="*/ 2698658 w 2791409"/>
              <a:gd name="connsiteY3" fmla="*/ 1386699 h 2768593"/>
              <a:gd name="connsiteX4" fmla="*/ 1380577 w 2791409"/>
              <a:gd name="connsiteY4" fmla="*/ 68618 h 2768593"/>
              <a:gd name="connsiteX5" fmla="*/ 0 w 2791409"/>
              <a:gd name="connsiteY5" fmla="*/ 47625 h 2768593"/>
              <a:gd name="connsiteX6" fmla="*/ 2791409 w 2791409"/>
              <a:gd name="connsiteY6" fmla="*/ 0 h 2768593"/>
              <a:gd name="connsiteX7" fmla="*/ 2710447 w 2791409"/>
              <a:gd name="connsiteY7" fmla="*/ 2740017 h 2768593"/>
              <a:gd name="connsiteX8" fmla="*/ 23815 w 2791409"/>
              <a:gd name="connsiteY8" fmla="*/ 2768593 h 2768593"/>
              <a:gd name="connsiteX9" fmla="*/ 0 w 2791409"/>
              <a:gd name="connsiteY9" fmla="*/ 47625 h 2768593"/>
              <a:gd name="connsiteX0" fmla="*/ 1380577 w 2791409"/>
              <a:gd name="connsiteY0" fmla="*/ 68618 h 2768593"/>
              <a:gd name="connsiteX1" fmla="*/ 62496 w 2791409"/>
              <a:gd name="connsiteY1" fmla="*/ 1386699 h 2768593"/>
              <a:gd name="connsiteX2" fmla="*/ 1380577 w 2791409"/>
              <a:gd name="connsiteY2" fmla="*/ 2704780 h 2768593"/>
              <a:gd name="connsiteX3" fmla="*/ 2698658 w 2791409"/>
              <a:gd name="connsiteY3" fmla="*/ 1386699 h 2768593"/>
              <a:gd name="connsiteX4" fmla="*/ 1380577 w 2791409"/>
              <a:gd name="connsiteY4" fmla="*/ 68618 h 2768593"/>
              <a:gd name="connsiteX5" fmla="*/ 0 w 2791409"/>
              <a:gd name="connsiteY5" fmla="*/ 47625 h 2768593"/>
              <a:gd name="connsiteX6" fmla="*/ 2791409 w 2791409"/>
              <a:gd name="connsiteY6" fmla="*/ 0 h 2768593"/>
              <a:gd name="connsiteX7" fmla="*/ 2729497 w 2791409"/>
              <a:gd name="connsiteY7" fmla="*/ 2759067 h 2768593"/>
              <a:gd name="connsiteX8" fmla="*/ 23815 w 2791409"/>
              <a:gd name="connsiteY8" fmla="*/ 2768593 h 2768593"/>
              <a:gd name="connsiteX9" fmla="*/ 0 w 2791409"/>
              <a:gd name="connsiteY9" fmla="*/ 47625 h 276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1409" h="2768593">
                <a:moveTo>
                  <a:pt x="1380577" y="68618"/>
                </a:moveTo>
                <a:cubicBezTo>
                  <a:pt x="652621" y="68618"/>
                  <a:pt x="62496" y="658743"/>
                  <a:pt x="62496" y="1386699"/>
                </a:cubicBezTo>
                <a:cubicBezTo>
                  <a:pt x="62496" y="2114655"/>
                  <a:pt x="652621" y="2704780"/>
                  <a:pt x="1380577" y="2704780"/>
                </a:cubicBezTo>
                <a:cubicBezTo>
                  <a:pt x="2108533" y="2704780"/>
                  <a:pt x="2698658" y="2114655"/>
                  <a:pt x="2698658" y="1386699"/>
                </a:cubicBezTo>
                <a:cubicBezTo>
                  <a:pt x="2698658" y="658743"/>
                  <a:pt x="2108533" y="68618"/>
                  <a:pt x="1380577" y="68618"/>
                </a:cubicBezTo>
                <a:close/>
                <a:moveTo>
                  <a:pt x="0" y="47625"/>
                </a:moveTo>
                <a:lnTo>
                  <a:pt x="2791409" y="0"/>
                </a:lnTo>
                <a:lnTo>
                  <a:pt x="2729497" y="2759067"/>
                </a:lnTo>
                <a:lnTo>
                  <a:pt x="23815" y="2768593"/>
                </a:lnTo>
                <a:cubicBezTo>
                  <a:pt x="23815" y="1753654"/>
                  <a:pt x="0" y="1062564"/>
                  <a:pt x="0" y="47625"/>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226" name="타원 225">
            <a:extLst>
              <a:ext uri="{FF2B5EF4-FFF2-40B4-BE49-F238E27FC236}">
                <a16:creationId xmlns:a16="http://schemas.microsoft.com/office/drawing/2014/main" id="{179B5CEE-E21F-4051-9DA0-D3EF47FAF625}"/>
              </a:ext>
            </a:extLst>
          </p:cNvPr>
          <p:cNvSpPr/>
          <p:nvPr/>
        </p:nvSpPr>
        <p:spPr>
          <a:xfrm rot="20700000">
            <a:off x="380621" y="5024850"/>
            <a:ext cx="2656017" cy="1509324"/>
          </a:xfrm>
          <a:prstGeom prst="ellipse">
            <a:avLst/>
          </a:prstGeom>
          <a:noFill/>
          <a:ln w="0" cap="flat" cmpd="sng" algn="ctr">
            <a:gradFill>
              <a:gsLst>
                <a:gs pos="0">
                  <a:srgbClr val="8E8E8E">
                    <a:alpha val="22000"/>
                  </a:srgbClr>
                </a:gs>
                <a:gs pos="100000">
                  <a:sysClr val="window" lastClr="FFFFFF">
                    <a:lumMod val="65000"/>
                    <a:alpha val="42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233" name="타원 232">
            <a:extLst>
              <a:ext uri="{FF2B5EF4-FFF2-40B4-BE49-F238E27FC236}">
                <a16:creationId xmlns:a16="http://schemas.microsoft.com/office/drawing/2014/main" id="{C3DF57E6-7D61-4B09-8DEF-E9BBCBEA2B52}"/>
              </a:ext>
            </a:extLst>
          </p:cNvPr>
          <p:cNvSpPr/>
          <p:nvPr/>
        </p:nvSpPr>
        <p:spPr>
          <a:xfrm rot="20700000">
            <a:off x="625807" y="5148528"/>
            <a:ext cx="2269000" cy="1261969"/>
          </a:xfrm>
          <a:prstGeom prst="ellipse">
            <a:avLst/>
          </a:prstGeom>
          <a:noFill/>
          <a:ln w="28575" cap="flat" cmpd="sng" algn="ctr">
            <a:solidFill>
              <a:srgbClr val="002060"/>
            </a:soli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35" name="그룹 234">
            <a:extLst>
              <a:ext uri="{FF2B5EF4-FFF2-40B4-BE49-F238E27FC236}">
                <a16:creationId xmlns:a16="http://schemas.microsoft.com/office/drawing/2014/main" id="{DAF34074-F423-4624-9D59-910DE1C7CE03}"/>
              </a:ext>
            </a:extLst>
          </p:cNvPr>
          <p:cNvGrpSpPr/>
          <p:nvPr/>
        </p:nvGrpSpPr>
        <p:grpSpPr>
          <a:xfrm>
            <a:off x="346565" y="5688870"/>
            <a:ext cx="743148" cy="743148"/>
            <a:chOff x="758196" y="2920752"/>
            <a:chExt cx="2317992" cy="2317992"/>
          </a:xfrm>
        </p:grpSpPr>
        <p:sp>
          <p:nvSpPr>
            <p:cNvPr id="280" name="타원 279">
              <a:extLst>
                <a:ext uri="{FF2B5EF4-FFF2-40B4-BE49-F238E27FC236}">
                  <a16:creationId xmlns:a16="http://schemas.microsoft.com/office/drawing/2014/main" id="{C8996A01-6067-45C5-8967-FC73ADEFAD42}"/>
                </a:ext>
              </a:extLst>
            </p:cNvPr>
            <p:cNvSpPr/>
            <p:nvPr/>
          </p:nvSpPr>
          <p:spPr>
            <a:xfrm>
              <a:off x="758196" y="2920752"/>
              <a:ext cx="2317992" cy="2317992"/>
            </a:xfrm>
            <a:prstGeom prst="ellipse">
              <a:avLst/>
            </a:prstGeom>
            <a:solidFill>
              <a:sysClr val="window" lastClr="FFFFFF"/>
            </a:solidFill>
            <a:ln w="19050" cap="flat" cmpd="sng" algn="ctr">
              <a:gradFill>
                <a:gsLst>
                  <a:gs pos="0">
                    <a:srgbClr val="F92763"/>
                  </a:gs>
                  <a:gs pos="100000">
                    <a:srgbClr val="C30037"/>
                  </a:gs>
                </a:gsLst>
                <a:lin ang="5400000" scaled="1"/>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pic>
          <p:nvPicPr>
            <p:cNvPr id="281" name="그림 280">
              <a:extLst>
                <a:ext uri="{FF2B5EF4-FFF2-40B4-BE49-F238E27FC236}">
                  <a16:creationId xmlns:a16="http://schemas.microsoft.com/office/drawing/2014/main" id="{5EDCCD8C-C32D-4655-939A-E80B82F1D41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37384" y="2999940"/>
              <a:ext cx="2159618" cy="2159618"/>
            </a:xfrm>
            <a:prstGeom prst="rect">
              <a:avLst/>
            </a:prstGeom>
          </p:spPr>
        </p:pic>
      </p:grpSp>
      <p:grpSp>
        <p:nvGrpSpPr>
          <p:cNvPr id="236" name="그룹 235">
            <a:extLst>
              <a:ext uri="{FF2B5EF4-FFF2-40B4-BE49-F238E27FC236}">
                <a16:creationId xmlns:a16="http://schemas.microsoft.com/office/drawing/2014/main" id="{3A13F3AB-037E-4037-AAE4-4030228043C9}"/>
              </a:ext>
            </a:extLst>
          </p:cNvPr>
          <p:cNvGrpSpPr/>
          <p:nvPr/>
        </p:nvGrpSpPr>
        <p:grpSpPr>
          <a:xfrm>
            <a:off x="2438023" y="5128466"/>
            <a:ext cx="743148" cy="743148"/>
            <a:chOff x="6491484" y="2996952"/>
            <a:chExt cx="2317992" cy="2317992"/>
          </a:xfrm>
        </p:grpSpPr>
        <p:sp>
          <p:nvSpPr>
            <p:cNvPr id="278" name="타원 277">
              <a:extLst>
                <a:ext uri="{FF2B5EF4-FFF2-40B4-BE49-F238E27FC236}">
                  <a16:creationId xmlns:a16="http://schemas.microsoft.com/office/drawing/2014/main" id="{28E4BB6D-DBD3-45F8-AB13-E95CEA0E6F82}"/>
                </a:ext>
              </a:extLst>
            </p:cNvPr>
            <p:cNvSpPr/>
            <p:nvPr/>
          </p:nvSpPr>
          <p:spPr>
            <a:xfrm>
              <a:off x="6491484" y="2996952"/>
              <a:ext cx="2317992" cy="2317992"/>
            </a:xfrm>
            <a:prstGeom prst="ellipse">
              <a:avLst/>
            </a:prstGeom>
            <a:solidFill>
              <a:sysClr val="window" lastClr="FFFFFF"/>
            </a:solidFill>
            <a:ln w="19050" cap="flat" cmpd="sng" algn="ctr">
              <a:gradFill>
                <a:gsLst>
                  <a:gs pos="0">
                    <a:srgbClr val="F92763"/>
                  </a:gs>
                  <a:gs pos="100000">
                    <a:srgbClr val="C30037"/>
                  </a:gs>
                </a:gsLst>
                <a:lin ang="5400000" scaled="1"/>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pic>
          <p:nvPicPr>
            <p:cNvPr id="279" name="그림 278">
              <a:extLst>
                <a:ext uri="{FF2B5EF4-FFF2-40B4-BE49-F238E27FC236}">
                  <a16:creationId xmlns:a16="http://schemas.microsoft.com/office/drawing/2014/main" id="{B8750503-A768-4EC9-BCAE-0796DB9406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570673" y="3076141"/>
              <a:ext cx="2159617" cy="2159617"/>
            </a:xfrm>
            <a:prstGeom prst="ellipse">
              <a:avLst/>
            </a:prstGeom>
          </p:spPr>
        </p:pic>
      </p:grpSp>
      <p:grpSp>
        <p:nvGrpSpPr>
          <p:cNvPr id="237" name="그룹 236">
            <a:extLst>
              <a:ext uri="{FF2B5EF4-FFF2-40B4-BE49-F238E27FC236}">
                <a16:creationId xmlns:a16="http://schemas.microsoft.com/office/drawing/2014/main" id="{B78E2A69-9993-4CA6-9162-9CB295FF7AA8}"/>
              </a:ext>
            </a:extLst>
          </p:cNvPr>
          <p:cNvGrpSpPr/>
          <p:nvPr/>
        </p:nvGrpSpPr>
        <p:grpSpPr>
          <a:xfrm>
            <a:off x="686998" y="5254981"/>
            <a:ext cx="639920" cy="370720"/>
            <a:chOff x="2438059" y="1998721"/>
            <a:chExt cx="2024159" cy="1172646"/>
          </a:xfrm>
        </p:grpSpPr>
        <p:sp>
          <p:nvSpPr>
            <p:cNvPr id="274" name="타원 273">
              <a:extLst>
                <a:ext uri="{FF2B5EF4-FFF2-40B4-BE49-F238E27FC236}">
                  <a16:creationId xmlns:a16="http://schemas.microsoft.com/office/drawing/2014/main" id="{07EEFAC1-2627-40C1-8F9F-7E04A1B29206}"/>
                </a:ext>
              </a:extLst>
            </p:cNvPr>
            <p:cNvSpPr/>
            <p:nvPr/>
          </p:nvSpPr>
          <p:spPr>
            <a:xfrm>
              <a:off x="2879628" y="1998721"/>
              <a:ext cx="1141022" cy="1141021"/>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75" name="그룹 274">
              <a:extLst>
                <a:ext uri="{FF2B5EF4-FFF2-40B4-BE49-F238E27FC236}">
                  <a16:creationId xmlns:a16="http://schemas.microsoft.com/office/drawing/2014/main" id="{2A067F09-4600-473E-82DA-723E204CB0B4}"/>
                </a:ext>
              </a:extLst>
            </p:cNvPr>
            <p:cNvGrpSpPr/>
            <p:nvPr/>
          </p:nvGrpSpPr>
          <p:grpSpPr>
            <a:xfrm>
              <a:off x="2438059" y="2273853"/>
              <a:ext cx="2024159" cy="897514"/>
              <a:chOff x="2454260" y="2823654"/>
              <a:chExt cx="2024159" cy="897514"/>
            </a:xfrm>
          </p:grpSpPr>
          <p:pic>
            <p:nvPicPr>
              <p:cNvPr id="276" name="그래픽 69">
                <a:extLst>
                  <a:ext uri="{FF2B5EF4-FFF2-40B4-BE49-F238E27FC236}">
                    <a16:creationId xmlns:a16="http://schemas.microsoft.com/office/drawing/2014/main" id="{E5CE90DC-1D4A-426B-8E85-B731F5DE333C}"/>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44545" y="2823654"/>
                <a:ext cx="298450" cy="367603"/>
              </a:xfrm>
              <a:prstGeom prst="rect">
                <a:avLst/>
              </a:prstGeom>
            </p:spPr>
          </p:pic>
          <p:sp>
            <p:nvSpPr>
              <p:cNvPr id="277" name="TextBox 276">
                <a:extLst>
                  <a:ext uri="{FF2B5EF4-FFF2-40B4-BE49-F238E27FC236}">
                    <a16:creationId xmlns:a16="http://schemas.microsoft.com/office/drawing/2014/main" id="{2A347E9F-6607-4E53-8E44-010D5546D554}"/>
                  </a:ext>
                </a:extLst>
              </p:cNvPr>
              <p:cNvSpPr txBox="1"/>
              <p:nvPr/>
            </p:nvSpPr>
            <p:spPr>
              <a:xfrm>
                <a:off x="2454260" y="3088363"/>
                <a:ext cx="2024159" cy="63280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Temperature</a:t>
                </a:r>
                <a:endParaRPr kumimoji="0" lang="ko-KR" altLang="en-US"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sp>
        <p:nvSpPr>
          <p:cNvPr id="238" name="타원 237">
            <a:extLst>
              <a:ext uri="{FF2B5EF4-FFF2-40B4-BE49-F238E27FC236}">
                <a16:creationId xmlns:a16="http://schemas.microsoft.com/office/drawing/2014/main" id="{81902A75-316D-40E7-85C3-9B2F86456083}"/>
              </a:ext>
            </a:extLst>
          </p:cNvPr>
          <p:cNvSpPr/>
          <p:nvPr/>
        </p:nvSpPr>
        <p:spPr>
          <a:xfrm rot="20700000">
            <a:off x="1208758" y="5045649"/>
            <a:ext cx="360724" cy="360722"/>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39" name="그룹 238">
            <a:extLst>
              <a:ext uri="{FF2B5EF4-FFF2-40B4-BE49-F238E27FC236}">
                <a16:creationId xmlns:a16="http://schemas.microsoft.com/office/drawing/2014/main" id="{0BA2616A-8BD6-4A86-8DB0-F4D0D2798AEC}"/>
              </a:ext>
            </a:extLst>
          </p:cNvPr>
          <p:cNvGrpSpPr/>
          <p:nvPr/>
        </p:nvGrpSpPr>
        <p:grpSpPr>
          <a:xfrm>
            <a:off x="1155580" y="5120694"/>
            <a:ext cx="481221" cy="290976"/>
            <a:chOff x="3445299" y="2219134"/>
            <a:chExt cx="1353475" cy="818395"/>
          </a:xfrm>
        </p:grpSpPr>
        <p:pic>
          <p:nvPicPr>
            <p:cNvPr id="272" name="그래픽 83">
              <a:extLst>
                <a:ext uri="{FF2B5EF4-FFF2-40B4-BE49-F238E27FC236}">
                  <a16:creationId xmlns:a16="http://schemas.microsoft.com/office/drawing/2014/main" id="{5EA5202A-8BF5-48A7-AB01-94B444A1363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37355" y="2219134"/>
              <a:ext cx="369369" cy="373063"/>
            </a:xfrm>
            <a:prstGeom prst="rect">
              <a:avLst/>
            </a:prstGeom>
          </p:spPr>
        </p:pic>
        <p:sp>
          <p:nvSpPr>
            <p:cNvPr id="273" name="TextBox 272">
              <a:extLst>
                <a:ext uri="{FF2B5EF4-FFF2-40B4-BE49-F238E27FC236}">
                  <a16:creationId xmlns:a16="http://schemas.microsoft.com/office/drawing/2014/main" id="{704F7A40-5C25-4F66-A351-482FDB70BA07}"/>
                </a:ext>
              </a:extLst>
            </p:cNvPr>
            <p:cNvSpPr txBox="1"/>
            <p:nvPr/>
          </p:nvSpPr>
          <p:spPr>
            <a:xfrm>
              <a:off x="3445299" y="2474857"/>
              <a:ext cx="1353475" cy="56267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Humidity</a:t>
              </a:r>
              <a:endParaRPr kumimoji="0" lang="ko-KR" altLang="en-US"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nvGrpSpPr>
          <p:cNvPr id="240" name="그룹 239">
            <a:extLst>
              <a:ext uri="{FF2B5EF4-FFF2-40B4-BE49-F238E27FC236}">
                <a16:creationId xmlns:a16="http://schemas.microsoft.com/office/drawing/2014/main" id="{EE11719F-F7D0-4D30-B6D0-089C42DFC717}"/>
              </a:ext>
            </a:extLst>
          </p:cNvPr>
          <p:cNvGrpSpPr/>
          <p:nvPr/>
        </p:nvGrpSpPr>
        <p:grpSpPr>
          <a:xfrm>
            <a:off x="1546668" y="4936085"/>
            <a:ext cx="495649" cy="360722"/>
            <a:chOff x="4831188" y="1793960"/>
            <a:chExt cx="1394053" cy="1014561"/>
          </a:xfrm>
        </p:grpSpPr>
        <p:sp>
          <p:nvSpPr>
            <p:cNvPr id="268" name="타원 267">
              <a:extLst>
                <a:ext uri="{FF2B5EF4-FFF2-40B4-BE49-F238E27FC236}">
                  <a16:creationId xmlns:a16="http://schemas.microsoft.com/office/drawing/2014/main" id="{E89D8EF3-D5D6-425D-AAC2-332B9D91131C}"/>
                </a:ext>
              </a:extLst>
            </p:cNvPr>
            <p:cNvSpPr/>
            <p:nvPr/>
          </p:nvSpPr>
          <p:spPr>
            <a:xfrm>
              <a:off x="5030843" y="1793960"/>
              <a:ext cx="1014565" cy="1014561"/>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69" name="그룹 268">
              <a:extLst>
                <a:ext uri="{FF2B5EF4-FFF2-40B4-BE49-F238E27FC236}">
                  <a16:creationId xmlns:a16="http://schemas.microsoft.com/office/drawing/2014/main" id="{96580E6C-4A6B-46FD-842F-B3B03A0FDC69}"/>
                </a:ext>
              </a:extLst>
            </p:cNvPr>
            <p:cNvGrpSpPr/>
            <p:nvPr/>
          </p:nvGrpSpPr>
          <p:grpSpPr>
            <a:xfrm>
              <a:off x="4831188" y="1981329"/>
              <a:ext cx="1394053" cy="805499"/>
              <a:chOff x="4831188" y="1981329"/>
              <a:chExt cx="1394053" cy="805499"/>
            </a:xfrm>
          </p:grpSpPr>
          <p:pic>
            <p:nvPicPr>
              <p:cNvPr id="270" name="그래픽 88">
                <a:extLst>
                  <a:ext uri="{FF2B5EF4-FFF2-40B4-BE49-F238E27FC236}">
                    <a16:creationId xmlns:a16="http://schemas.microsoft.com/office/drawing/2014/main" id="{2EB1C8F5-AAA3-421D-AEA4-C68DD090FD03}"/>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63044" y="1981329"/>
                <a:ext cx="349751" cy="353680"/>
              </a:xfrm>
              <a:prstGeom prst="rect">
                <a:avLst/>
              </a:prstGeom>
            </p:spPr>
          </p:pic>
          <p:sp>
            <p:nvSpPr>
              <p:cNvPr id="271" name="TextBox 270">
                <a:extLst>
                  <a:ext uri="{FF2B5EF4-FFF2-40B4-BE49-F238E27FC236}">
                    <a16:creationId xmlns:a16="http://schemas.microsoft.com/office/drawing/2014/main" id="{2E48649C-7C79-4FD5-9066-C1332B361321}"/>
                  </a:ext>
                </a:extLst>
              </p:cNvPr>
              <p:cNvSpPr txBox="1"/>
              <p:nvPr/>
            </p:nvSpPr>
            <p:spPr>
              <a:xfrm>
                <a:off x="4831188" y="2224156"/>
                <a:ext cx="1394053" cy="56267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Fine dust</a:t>
                </a:r>
                <a:endParaRPr kumimoji="0" lang="ko-KR" altLang="en-US"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grpSp>
        <p:nvGrpSpPr>
          <p:cNvPr id="241" name="그룹 240">
            <a:extLst>
              <a:ext uri="{FF2B5EF4-FFF2-40B4-BE49-F238E27FC236}">
                <a16:creationId xmlns:a16="http://schemas.microsoft.com/office/drawing/2014/main" id="{CF9A9F21-2F2F-4A62-846E-323C9F5DEAB7}"/>
              </a:ext>
            </a:extLst>
          </p:cNvPr>
          <p:cNvGrpSpPr/>
          <p:nvPr/>
        </p:nvGrpSpPr>
        <p:grpSpPr>
          <a:xfrm>
            <a:off x="2053289" y="4926287"/>
            <a:ext cx="360724" cy="361086"/>
            <a:chOff x="6221469" y="2084469"/>
            <a:chExt cx="1014565" cy="1015591"/>
          </a:xfrm>
        </p:grpSpPr>
        <p:sp>
          <p:nvSpPr>
            <p:cNvPr id="264" name="타원 263">
              <a:extLst>
                <a:ext uri="{FF2B5EF4-FFF2-40B4-BE49-F238E27FC236}">
                  <a16:creationId xmlns:a16="http://schemas.microsoft.com/office/drawing/2014/main" id="{AD11BC8C-2F64-4D52-90B2-E7E2896436F5}"/>
                </a:ext>
              </a:extLst>
            </p:cNvPr>
            <p:cNvSpPr/>
            <p:nvPr/>
          </p:nvSpPr>
          <p:spPr>
            <a:xfrm>
              <a:off x="6221469" y="2084469"/>
              <a:ext cx="1014565" cy="1014568"/>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65" name="그룹 264">
              <a:extLst>
                <a:ext uri="{FF2B5EF4-FFF2-40B4-BE49-F238E27FC236}">
                  <a16:creationId xmlns:a16="http://schemas.microsoft.com/office/drawing/2014/main" id="{97183D9F-3917-457F-A540-E18CA5BEAFFA}"/>
                </a:ext>
              </a:extLst>
            </p:cNvPr>
            <p:cNvGrpSpPr/>
            <p:nvPr/>
          </p:nvGrpSpPr>
          <p:grpSpPr>
            <a:xfrm>
              <a:off x="6257357" y="2313734"/>
              <a:ext cx="974756" cy="786326"/>
              <a:chOff x="5960289" y="2932113"/>
              <a:chExt cx="974756" cy="786326"/>
            </a:xfrm>
          </p:grpSpPr>
          <p:pic>
            <p:nvPicPr>
              <p:cNvPr id="266" name="그래픽 93">
                <a:extLst>
                  <a:ext uri="{FF2B5EF4-FFF2-40B4-BE49-F238E27FC236}">
                    <a16:creationId xmlns:a16="http://schemas.microsoft.com/office/drawing/2014/main" id="{9F6BBD92-8AFA-40CC-8C0E-8C6C24E372C1}"/>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35732" y="2932113"/>
                <a:ext cx="404812" cy="314854"/>
              </a:xfrm>
              <a:prstGeom prst="rect">
                <a:avLst/>
              </a:prstGeom>
            </p:spPr>
          </p:pic>
          <p:sp>
            <p:nvSpPr>
              <p:cNvPr id="267" name="TextBox 266">
                <a:extLst>
                  <a:ext uri="{FF2B5EF4-FFF2-40B4-BE49-F238E27FC236}">
                    <a16:creationId xmlns:a16="http://schemas.microsoft.com/office/drawing/2014/main" id="{3D564F5A-F10F-4511-BD69-270B35602338}"/>
                  </a:ext>
                </a:extLst>
              </p:cNvPr>
              <p:cNvSpPr txBox="1"/>
              <p:nvPr/>
            </p:nvSpPr>
            <p:spPr>
              <a:xfrm>
                <a:off x="5960289" y="3155765"/>
                <a:ext cx="974756" cy="56267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CO2</a:t>
                </a:r>
                <a:endParaRPr kumimoji="0" lang="en-US" altLang="ko-KR" sz="700" b="0" i="0" u="none" strike="noStrike" kern="0" cap="none" spc="-50" normalizeH="0" baseline="-2500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grpSp>
        <p:nvGrpSpPr>
          <p:cNvPr id="242" name="그룹 241">
            <a:extLst>
              <a:ext uri="{FF2B5EF4-FFF2-40B4-BE49-F238E27FC236}">
                <a16:creationId xmlns:a16="http://schemas.microsoft.com/office/drawing/2014/main" id="{075675C8-CFED-4B0D-AA0A-EBB9CF42CDC5}"/>
              </a:ext>
            </a:extLst>
          </p:cNvPr>
          <p:cNvGrpSpPr/>
          <p:nvPr/>
        </p:nvGrpSpPr>
        <p:grpSpPr>
          <a:xfrm>
            <a:off x="1197225" y="6269413"/>
            <a:ext cx="639920" cy="370718"/>
            <a:chOff x="2438059" y="1998721"/>
            <a:chExt cx="2024159" cy="1172639"/>
          </a:xfrm>
        </p:grpSpPr>
        <p:sp>
          <p:nvSpPr>
            <p:cNvPr id="260" name="타원 259">
              <a:extLst>
                <a:ext uri="{FF2B5EF4-FFF2-40B4-BE49-F238E27FC236}">
                  <a16:creationId xmlns:a16="http://schemas.microsoft.com/office/drawing/2014/main" id="{16F11668-4F99-47C4-AA49-9DCE573D8B08}"/>
                </a:ext>
              </a:extLst>
            </p:cNvPr>
            <p:cNvSpPr/>
            <p:nvPr/>
          </p:nvSpPr>
          <p:spPr>
            <a:xfrm>
              <a:off x="2879628" y="1998721"/>
              <a:ext cx="1141022" cy="1141020"/>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61" name="그룹 260">
              <a:extLst>
                <a:ext uri="{FF2B5EF4-FFF2-40B4-BE49-F238E27FC236}">
                  <a16:creationId xmlns:a16="http://schemas.microsoft.com/office/drawing/2014/main" id="{B17B22E6-B286-4FEE-88D2-0C141EFA26DF}"/>
                </a:ext>
              </a:extLst>
            </p:cNvPr>
            <p:cNvGrpSpPr/>
            <p:nvPr/>
          </p:nvGrpSpPr>
          <p:grpSpPr>
            <a:xfrm>
              <a:off x="2438059" y="2273853"/>
              <a:ext cx="2024159" cy="897507"/>
              <a:chOff x="2454260" y="2823654"/>
              <a:chExt cx="2024159" cy="897507"/>
            </a:xfrm>
          </p:grpSpPr>
          <p:pic>
            <p:nvPicPr>
              <p:cNvPr id="262" name="그래픽 98">
                <a:extLst>
                  <a:ext uri="{FF2B5EF4-FFF2-40B4-BE49-F238E27FC236}">
                    <a16:creationId xmlns:a16="http://schemas.microsoft.com/office/drawing/2014/main" id="{9D6E87F5-39F0-4090-92E6-CAC0BE63BA7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44545" y="2823654"/>
                <a:ext cx="298450" cy="367603"/>
              </a:xfrm>
              <a:prstGeom prst="rect">
                <a:avLst/>
              </a:prstGeom>
            </p:spPr>
          </p:pic>
          <p:sp>
            <p:nvSpPr>
              <p:cNvPr id="263" name="TextBox 262">
                <a:extLst>
                  <a:ext uri="{FF2B5EF4-FFF2-40B4-BE49-F238E27FC236}">
                    <a16:creationId xmlns:a16="http://schemas.microsoft.com/office/drawing/2014/main" id="{C6936178-02C2-4575-AA51-5DF98F9F8B3C}"/>
                  </a:ext>
                </a:extLst>
              </p:cNvPr>
              <p:cNvSpPr txBox="1"/>
              <p:nvPr/>
            </p:nvSpPr>
            <p:spPr>
              <a:xfrm>
                <a:off x="2454260" y="3088356"/>
                <a:ext cx="2024159" cy="63280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Temperature</a:t>
                </a:r>
                <a:endParaRPr kumimoji="0" lang="ko-KR" altLang="en-US"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grpSp>
        <p:nvGrpSpPr>
          <p:cNvPr id="243" name="그룹 242">
            <a:extLst>
              <a:ext uri="{FF2B5EF4-FFF2-40B4-BE49-F238E27FC236}">
                <a16:creationId xmlns:a16="http://schemas.microsoft.com/office/drawing/2014/main" id="{CEDA35EF-911F-4B4D-946D-6BF0A5401B00}"/>
              </a:ext>
            </a:extLst>
          </p:cNvPr>
          <p:cNvGrpSpPr/>
          <p:nvPr/>
        </p:nvGrpSpPr>
        <p:grpSpPr>
          <a:xfrm>
            <a:off x="2081769" y="6050280"/>
            <a:ext cx="495649" cy="360722"/>
            <a:chOff x="5473659" y="5211844"/>
            <a:chExt cx="1394053" cy="1014567"/>
          </a:xfrm>
        </p:grpSpPr>
        <p:sp>
          <p:nvSpPr>
            <p:cNvPr id="256" name="타원 255">
              <a:extLst>
                <a:ext uri="{FF2B5EF4-FFF2-40B4-BE49-F238E27FC236}">
                  <a16:creationId xmlns:a16="http://schemas.microsoft.com/office/drawing/2014/main" id="{765F7F69-91D7-4841-ADB2-186E08A2AFDB}"/>
                </a:ext>
              </a:extLst>
            </p:cNvPr>
            <p:cNvSpPr/>
            <p:nvPr/>
          </p:nvSpPr>
          <p:spPr>
            <a:xfrm>
              <a:off x="5678542" y="5211844"/>
              <a:ext cx="1014565" cy="1014567"/>
            </a:xfrm>
            <a:prstGeom prst="ellipse">
              <a:avLst/>
            </a:prstGeom>
            <a:solidFill>
              <a:sysClr val="window" lastClr="FFFFFF"/>
            </a:solidFill>
            <a:ln w="19050" cap="flat" cmpd="sng" algn="ctr">
              <a:gradFill>
                <a:gsLst>
                  <a:gs pos="0">
                    <a:srgbClr val="8E8E8E"/>
                  </a:gs>
                  <a:gs pos="100000">
                    <a:sysClr val="window" lastClr="FFFFFF">
                      <a:lumMod val="65000"/>
                    </a:sysClr>
                  </a:gs>
                </a:gsLst>
                <a:lin ang="10800000" scaled="0"/>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257" name="그룹 256">
              <a:extLst>
                <a:ext uri="{FF2B5EF4-FFF2-40B4-BE49-F238E27FC236}">
                  <a16:creationId xmlns:a16="http://schemas.microsoft.com/office/drawing/2014/main" id="{5F6C16CB-CB2D-476C-9FAA-A2B620EEB57D}"/>
                </a:ext>
              </a:extLst>
            </p:cNvPr>
            <p:cNvGrpSpPr/>
            <p:nvPr/>
          </p:nvGrpSpPr>
          <p:grpSpPr>
            <a:xfrm>
              <a:off x="5473659" y="5403245"/>
              <a:ext cx="1394053" cy="803621"/>
              <a:chOff x="4828376" y="1986950"/>
              <a:chExt cx="1394053" cy="803621"/>
            </a:xfrm>
          </p:grpSpPr>
          <p:pic>
            <p:nvPicPr>
              <p:cNvPr id="258" name="그래픽 103">
                <a:extLst>
                  <a:ext uri="{FF2B5EF4-FFF2-40B4-BE49-F238E27FC236}">
                    <a16:creationId xmlns:a16="http://schemas.microsoft.com/office/drawing/2014/main" id="{E99E2FF5-89CA-4CFB-83D1-33522AC268D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60235" y="1986950"/>
                <a:ext cx="349751" cy="353680"/>
              </a:xfrm>
              <a:prstGeom prst="rect">
                <a:avLst/>
              </a:prstGeom>
            </p:spPr>
          </p:pic>
          <p:sp>
            <p:nvSpPr>
              <p:cNvPr id="259" name="TextBox 258">
                <a:extLst>
                  <a:ext uri="{FF2B5EF4-FFF2-40B4-BE49-F238E27FC236}">
                    <a16:creationId xmlns:a16="http://schemas.microsoft.com/office/drawing/2014/main" id="{AD7DD52F-85E9-43CE-9D27-FC7FD18785E6}"/>
                  </a:ext>
                </a:extLst>
              </p:cNvPr>
              <p:cNvSpPr txBox="1"/>
              <p:nvPr/>
            </p:nvSpPr>
            <p:spPr>
              <a:xfrm>
                <a:off x="4828376" y="2227897"/>
                <a:ext cx="1394053" cy="56267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rPr>
                  <a:t>Fine dust</a:t>
                </a:r>
                <a:endParaRPr kumimoji="0" lang="ko-KR" altLang="en-US" sz="700" b="0" i="0" u="none" strike="noStrike" kern="0" cap="none" spc="-50" normalizeH="0" baseline="0" noProof="0" dirty="0">
                  <a:ln>
                    <a:solidFill>
                      <a:srgbClr val="4472C4">
                        <a:alpha val="0"/>
                      </a:srgbClr>
                    </a:solidFill>
                  </a:ln>
                  <a:solidFill>
                    <a:prstClr val="black"/>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grpSp>
        <p:nvGrpSpPr>
          <p:cNvPr id="244" name="그룹 243"/>
          <p:cNvGrpSpPr/>
          <p:nvPr/>
        </p:nvGrpSpPr>
        <p:grpSpPr>
          <a:xfrm>
            <a:off x="89762" y="4848927"/>
            <a:ext cx="1144321" cy="369332"/>
            <a:chOff x="412772" y="5257531"/>
            <a:chExt cx="1144321" cy="369332"/>
          </a:xfrm>
        </p:grpSpPr>
        <p:sp>
          <p:nvSpPr>
            <p:cNvPr id="254" name="사각형: 둥근 모서리 106">
              <a:extLst>
                <a:ext uri="{FF2B5EF4-FFF2-40B4-BE49-F238E27FC236}">
                  <a16:creationId xmlns:a16="http://schemas.microsoft.com/office/drawing/2014/main" id="{A16B3609-F081-4015-81AF-A411AF0893A4}"/>
                </a:ext>
              </a:extLst>
            </p:cNvPr>
            <p:cNvSpPr/>
            <p:nvPr/>
          </p:nvSpPr>
          <p:spPr>
            <a:xfrm>
              <a:off x="463449" y="5279224"/>
              <a:ext cx="1025395" cy="339926"/>
            </a:xfrm>
            <a:prstGeom prst="roundRect">
              <a:avLst>
                <a:gd name="adj" fmla="val 50000"/>
              </a:avLst>
            </a:prstGeom>
            <a:solidFill>
              <a:sysClr val="windowText" lastClr="000000">
                <a:lumMod val="75000"/>
                <a:lumOff val="25000"/>
              </a:sys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600" b="0" i="0" u="none" strike="noStrike" kern="0" cap="none" spc="-80" normalizeH="0" baseline="0" noProof="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55" name="TextBox 254">
              <a:extLst>
                <a:ext uri="{FF2B5EF4-FFF2-40B4-BE49-F238E27FC236}">
                  <a16:creationId xmlns:a16="http://schemas.microsoft.com/office/drawing/2014/main" id="{E7D75F1F-3B42-41D6-AF93-8750850CF560}"/>
                </a:ext>
              </a:extLst>
            </p:cNvPr>
            <p:cNvSpPr txBox="1"/>
            <p:nvPr/>
          </p:nvSpPr>
          <p:spPr>
            <a:xfrm>
              <a:off x="412772" y="5257531"/>
              <a:ext cx="1144321"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Indoor Environment Analysis</a:t>
              </a:r>
              <a:endParaRPr kumimoji="0" lang="ko-KR" altLang="en-US" sz="9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nvGrpSpPr>
          <p:cNvPr id="245" name="그룹 244"/>
          <p:cNvGrpSpPr/>
          <p:nvPr/>
        </p:nvGrpSpPr>
        <p:grpSpPr>
          <a:xfrm>
            <a:off x="2497495" y="4925899"/>
            <a:ext cx="892030" cy="215444"/>
            <a:chOff x="946290" y="5261229"/>
            <a:chExt cx="892030" cy="215444"/>
          </a:xfrm>
        </p:grpSpPr>
        <p:sp>
          <p:nvSpPr>
            <p:cNvPr id="252" name="사각형: 둥근 모서리 106">
              <a:extLst>
                <a:ext uri="{FF2B5EF4-FFF2-40B4-BE49-F238E27FC236}">
                  <a16:creationId xmlns:a16="http://schemas.microsoft.com/office/drawing/2014/main" id="{A16B3609-F081-4015-81AF-A411AF0893A4}"/>
                </a:ext>
              </a:extLst>
            </p:cNvPr>
            <p:cNvSpPr/>
            <p:nvPr/>
          </p:nvSpPr>
          <p:spPr>
            <a:xfrm>
              <a:off x="1030130" y="5302083"/>
              <a:ext cx="773596" cy="150422"/>
            </a:xfrm>
            <a:prstGeom prst="roundRect">
              <a:avLst>
                <a:gd name="adj" fmla="val 50000"/>
              </a:avLst>
            </a:prstGeom>
            <a:solidFill>
              <a:sysClr val="windowText" lastClr="000000">
                <a:lumMod val="75000"/>
                <a:lumOff val="25000"/>
              </a:sys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600" b="0" i="0" u="none" strike="noStrike" kern="0" cap="none" spc="-80" normalizeH="0" baseline="0" noProof="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53" name="TextBox 252">
              <a:extLst>
                <a:ext uri="{FF2B5EF4-FFF2-40B4-BE49-F238E27FC236}">
                  <a16:creationId xmlns:a16="http://schemas.microsoft.com/office/drawing/2014/main" id="{E7D75F1F-3B42-41D6-AF93-8750850CF560}"/>
                </a:ext>
              </a:extLst>
            </p:cNvPr>
            <p:cNvSpPr txBox="1"/>
            <p:nvPr/>
          </p:nvSpPr>
          <p:spPr>
            <a:xfrm>
              <a:off x="946290" y="5261229"/>
              <a:ext cx="892030"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LG ERV</a:t>
              </a:r>
              <a:endParaRPr kumimoji="0" lang="ko-KR" altLang="en-US"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nvGrpSpPr>
          <p:cNvPr id="246" name="그룹 245"/>
          <p:cNvGrpSpPr/>
          <p:nvPr/>
        </p:nvGrpSpPr>
        <p:grpSpPr>
          <a:xfrm>
            <a:off x="172296" y="6547369"/>
            <a:ext cx="892030" cy="215444"/>
            <a:chOff x="965593" y="5288508"/>
            <a:chExt cx="892030" cy="215444"/>
          </a:xfrm>
        </p:grpSpPr>
        <p:sp>
          <p:nvSpPr>
            <p:cNvPr id="250" name="사각형: 둥근 모서리 106">
              <a:extLst>
                <a:ext uri="{FF2B5EF4-FFF2-40B4-BE49-F238E27FC236}">
                  <a16:creationId xmlns:a16="http://schemas.microsoft.com/office/drawing/2014/main" id="{A16B3609-F081-4015-81AF-A411AF0893A4}"/>
                </a:ext>
              </a:extLst>
            </p:cNvPr>
            <p:cNvSpPr/>
            <p:nvPr/>
          </p:nvSpPr>
          <p:spPr>
            <a:xfrm>
              <a:off x="1030130" y="5325599"/>
              <a:ext cx="773596" cy="161336"/>
            </a:xfrm>
            <a:prstGeom prst="roundRect">
              <a:avLst>
                <a:gd name="adj" fmla="val 50000"/>
              </a:avLst>
            </a:prstGeom>
            <a:solidFill>
              <a:sysClr val="windowText" lastClr="000000">
                <a:lumMod val="75000"/>
                <a:lumOff val="25000"/>
              </a:sys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600" b="0" i="0" u="none" strike="noStrike" kern="0" cap="none" spc="-80" normalizeH="0" baseline="0" noProof="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51" name="TextBox 250">
              <a:extLst>
                <a:ext uri="{FF2B5EF4-FFF2-40B4-BE49-F238E27FC236}">
                  <a16:creationId xmlns:a16="http://schemas.microsoft.com/office/drawing/2014/main" id="{E7D75F1F-3B42-41D6-AF93-8750850CF560}"/>
                </a:ext>
              </a:extLst>
            </p:cNvPr>
            <p:cNvSpPr txBox="1"/>
            <p:nvPr/>
          </p:nvSpPr>
          <p:spPr>
            <a:xfrm>
              <a:off x="965593" y="5288508"/>
              <a:ext cx="892030"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Air Conditioner</a:t>
              </a:r>
              <a:endParaRPr kumimoji="0" lang="ko-KR" altLang="en-US"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grpSp>
        <p:nvGrpSpPr>
          <p:cNvPr id="247" name="그룹 246"/>
          <p:cNvGrpSpPr/>
          <p:nvPr/>
        </p:nvGrpSpPr>
        <p:grpSpPr>
          <a:xfrm>
            <a:off x="1678955" y="6476577"/>
            <a:ext cx="1277175" cy="338554"/>
            <a:chOff x="909345" y="5310475"/>
            <a:chExt cx="1277175" cy="338554"/>
          </a:xfrm>
        </p:grpSpPr>
        <p:sp>
          <p:nvSpPr>
            <p:cNvPr id="248" name="사각형: 둥근 모서리 106">
              <a:extLst>
                <a:ext uri="{FF2B5EF4-FFF2-40B4-BE49-F238E27FC236}">
                  <a16:creationId xmlns:a16="http://schemas.microsoft.com/office/drawing/2014/main" id="{A16B3609-F081-4015-81AF-A411AF0893A4}"/>
                </a:ext>
              </a:extLst>
            </p:cNvPr>
            <p:cNvSpPr/>
            <p:nvPr/>
          </p:nvSpPr>
          <p:spPr>
            <a:xfrm>
              <a:off x="1030129" y="5325599"/>
              <a:ext cx="1070547" cy="323430"/>
            </a:xfrm>
            <a:prstGeom prst="roundRect">
              <a:avLst>
                <a:gd name="adj" fmla="val 50000"/>
              </a:avLst>
            </a:prstGeom>
            <a:solidFill>
              <a:sysClr val="windowText" lastClr="000000">
                <a:lumMod val="75000"/>
                <a:lumOff val="25000"/>
              </a:sys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600" b="0" i="0" u="none" strike="noStrike" kern="0" cap="none" spc="-80" normalizeH="0" baseline="0" noProof="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49" name="TextBox 248">
              <a:extLst>
                <a:ext uri="{FF2B5EF4-FFF2-40B4-BE49-F238E27FC236}">
                  <a16:creationId xmlns:a16="http://schemas.microsoft.com/office/drawing/2014/main" id="{E7D75F1F-3B42-41D6-AF93-8750850CF560}"/>
                </a:ext>
              </a:extLst>
            </p:cNvPr>
            <p:cNvSpPr txBox="1"/>
            <p:nvPr/>
          </p:nvSpPr>
          <p:spPr>
            <a:xfrm>
              <a:off x="909345" y="5310475"/>
              <a:ext cx="127717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Outdoor Environment </a:t>
              </a:r>
              <a:r>
                <a:rPr lang="en-US" altLang="ko-KR" sz="800" kern="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A</a:t>
              </a:r>
              <a:r>
                <a:rPr kumimoji="0" lang="en-US" altLang="ko-KR" sz="800" b="0" i="0" u="none" strike="noStrike" kern="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nalysis</a:t>
              </a:r>
              <a:endParaRPr kumimoji="0" lang="ko-KR" altLang="en-US" sz="800" b="0" i="0" u="none" strike="noStrike" kern="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sp>
        <p:nvSpPr>
          <p:cNvPr id="2" name="텍스트 개체 틀 1"/>
          <p:cNvSpPr>
            <a:spLocks noGrp="1"/>
          </p:cNvSpPr>
          <p:nvPr>
            <p:ph type="body" sz="quarter" idx="19"/>
          </p:nvPr>
        </p:nvSpPr>
        <p:spPr>
          <a:xfrm>
            <a:off x="276742" y="164293"/>
            <a:ext cx="8930631" cy="369332"/>
          </a:xfrm>
        </p:spPr>
        <p:txBody>
          <a:bodyPr/>
          <a:lstStyle/>
          <a:p>
            <a:r>
              <a:rPr lang="en-US" altLang="ko-KR" dirty="0"/>
              <a:t>Why LG ERV?</a:t>
            </a:r>
          </a:p>
        </p:txBody>
      </p:sp>
      <p:sp>
        <p:nvSpPr>
          <p:cNvPr id="4" name="텍스트 개체 틀 3"/>
          <p:cNvSpPr>
            <a:spLocks noGrp="1"/>
          </p:cNvSpPr>
          <p:nvPr>
            <p:ph type="body" sz="quarter" idx="21"/>
          </p:nvPr>
        </p:nvSpPr>
        <p:spPr>
          <a:xfrm>
            <a:off x="278422" y="739889"/>
            <a:ext cx="9342438" cy="492443"/>
          </a:xfrm>
        </p:spPr>
        <p:txBody>
          <a:bodyPr/>
          <a:lstStyle/>
          <a:p>
            <a:r>
              <a:rPr lang="en-US" altLang="ko-KR" dirty="0"/>
              <a:t>Prefilter and MERV13 filters, total energy heat exchanger, quiet operation, indoor  air quality(IAQ) management, LG controls for easy integration to LG HVAC Products, and easy filter replacement .</a:t>
            </a:r>
          </a:p>
        </p:txBody>
      </p:sp>
      <p:sp>
        <p:nvSpPr>
          <p:cNvPr id="188" name="타원 187">
            <a:extLst>
              <a:ext uri="{FF2B5EF4-FFF2-40B4-BE49-F238E27FC236}">
                <a16:creationId xmlns:a16="http://schemas.microsoft.com/office/drawing/2014/main" id="{F2D7F5E1-5690-4E11-8014-7FDFCCB9828B}"/>
              </a:ext>
            </a:extLst>
          </p:cNvPr>
          <p:cNvSpPr/>
          <p:nvPr/>
        </p:nvSpPr>
        <p:spPr>
          <a:xfrm>
            <a:off x="7615447" y="4680312"/>
            <a:ext cx="1714500" cy="1714500"/>
          </a:xfrm>
          <a:prstGeom prst="ellipse">
            <a:avLst/>
          </a:prstGeom>
          <a:solidFill>
            <a:srgbClr val="F2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grpSp>
        <p:nvGrpSpPr>
          <p:cNvPr id="190" name="그룹 189">
            <a:extLst>
              <a:ext uri="{FF2B5EF4-FFF2-40B4-BE49-F238E27FC236}">
                <a16:creationId xmlns:a16="http://schemas.microsoft.com/office/drawing/2014/main" id="{01852973-EBA0-45A7-B156-337AC1902397}"/>
              </a:ext>
            </a:extLst>
          </p:cNvPr>
          <p:cNvGrpSpPr/>
          <p:nvPr/>
        </p:nvGrpSpPr>
        <p:grpSpPr>
          <a:xfrm>
            <a:off x="606552" y="1581150"/>
            <a:ext cx="8692896" cy="4591712"/>
            <a:chOff x="814874" y="1524000"/>
            <a:chExt cx="8276253" cy="5346700"/>
          </a:xfrm>
        </p:grpSpPr>
        <p:cxnSp>
          <p:nvCxnSpPr>
            <p:cNvPr id="191" name="직선 연결선 190">
              <a:extLst>
                <a:ext uri="{FF2B5EF4-FFF2-40B4-BE49-F238E27FC236}">
                  <a16:creationId xmlns:a16="http://schemas.microsoft.com/office/drawing/2014/main" id="{92832BFF-3F92-4060-AC92-26D6F03DC7ED}"/>
                </a:ext>
              </a:extLst>
            </p:cNvPr>
            <p:cNvCxnSpPr>
              <a:cxnSpLocks/>
            </p:cNvCxnSpPr>
            <p:nvPr/>
          </p:nvCxnSpPr>
          <p:spPr>
            <a:xfrm>
              <a:off x="814874" y="4197350"/>
              <a:ext cx="8276253" cy="0"/>
            </a:xfrm>
            <a:prstGeom prst="line">
              <a:avLst/>
            </a:prstGeom>
            <a:noFill/>
            <a:ln w="6350" cap="flat" cmpd="sng" algn="ctr">
              <a:solidFill>
                <a:srgbClr val="7F7F7F"/>
              </a:solidFill>
              <a:prstDash val="solid"/>
              <a:miter lim="800000"/>
            </a:ln>
            <a:effectLst/>
          </p:spPr>
        </p:cxnSp>
        <p:cxnSp>
          <p:nvCxnSpPr>
            <p:cNvPr id="192" name="직선 연결선 191">
              <a:extLst>
                <a:ext uri="{FF2B5EF4-FFF2-40B4-BE49-F238E27FC236}">
                  <a16:creationId xmlns:a16="http://schemas.microsoft.com/office/drawing/2014/main" id="{5C8718BB-7479-406B-BA07-A852801FDD7E}"/>
                </a:ext>
              </a:extLst>
            </p:cNvPr>
            <p:cNvCxnSpPr>
              <a:cxnSpLocks/>
            </p:cNvCxnSpPr>
            <p:nvPr/>
          </p:nvCxnSpPr>
          <p:spPr>
            <a:xfrm flipV="1">
              <a:off x="4953000" y="1524000"/>
              <a:ext cx="0" cy="5346700"/>
            </a:xfrm>
            <a:prstGeom prst="line">
              <a:avLst/>
            </a:prstGeom>
            <a:noFill/>
            <a:ln w="6350" cap="flat" cmpd="sng" algn="ctr">
              <a:solidFill>
                <a:srgbClr val="7F7F7F"/>
              </a:solidFill>
              <a:prstDash val="solid"/>
              <a:miter lim="800000"/>
            </a:ln>
            <a:effectLst/>
          </p:spPr>
        </p:cxnSp>
      </p:grpSp>
      <p:sp>
        <p:nvSpPr>
          <p:cNvPr id="193" name="타원 192">
            <a:extLst>
              <a:ext uri="{FF2B5EF4-FFF2-40B4-BE49-F238E27FC236}">
                <a16:creationId xmlns:a16="http://schemas.microsoft.com/office/drawing/2014/main" id="{414589EC-7CBF-4ADC-9604-F4C90C654B92}"/>
              </a:ext>
            </a:extLst>
          </p:cNvPr>
          <p:cNvSpPr/>
          <p:nvPr/>
        </p:nvSpPr>
        <p:spPr>
          <a:xfrm>
            <a:off x="3635451" y="2549839"/>
            <a:ext cx="2656108" cy="2656108"/>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200" name="타원 199">
            <a:extLst>
              <a:ext uri="{FF2B5EF4-FFF2-40B4-BE49-F238E27FC236}">
                <a16:creationId xmlns:a16="http://schemas.microsoft.com/office/drawing/2014/main" id="{4CD34EE4-6173-4018-9D87-F7E867379B93}"/>
              </a:ext>
            </a:extLst>
          </p:cNvPr>
          <p:cNvSpPr/>
          <p:nvPr/>
        </p:nvSpPr>
        <p:spPr>
          <a:xfrm rot="18000000">
            <a:off x="1848262" y="2112116"/>
            <a:ext cx="1548956" cy="1548956"/>
          </a:xfrm>
          <a:prstGeom prst="ellipse">
            <a:avLst/>
          </a:prstGeom>
          <a:solidFill>
            <a:sysClr val="window" lastClr="FFFFFF"/>
          </a:solidFill>
          <a:ln w="19050" cap="flat" cmpd="sng" algn="ctr">
            <a:gradFill>
              <a:gsLst>
                <a:gs pos="0">
                  <a:srgbClr val="F92763"/>
                </a:gs>
                <a:gs pos="100000">
                  <a:srgbClr val="C30037"/>
                </a:gs>
              </a:gsLst>
              <a:lin ang="5400000" scaled="1"/>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201" name="사각형: 둥근 모서리 24">
            <a:extLst>
              <a:ext uri="{FF2B5EF4-FFF2-40B4-BE49-F238E27FC236}">
                <a16:creationId xmlns:a16="http://schemas.microsoft.com/office/drawing/2014/main" id="{8399448C-57BC-44C0-A5B1-102FD9C102E1}"/>
              </a:ext>
            </a:extLst>
          </p:cNvPr>
          <p:cNvSpPr/>
          <p:nvPr/>
        </p:nvSpPr>
        <p:spPr>
          <a:xfrm>
            <a:off x="7526196" y="4005025"/>
            <a:ext cx="1800000" cy="28800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Convenience</a:t>
            </a:r>
          </a:p>
        </p:txBody>
      </p:sp>
      <p:sp>
        <p:nvSpPr>
          <p:cNvPr id="202" name="사각형: 둥근 모서리 25">
            <a:extLst>
              <a:ext uri="{FF2B5EF4-FFF2-40B4-BE49-F238E27FC236}">
                <a16:creationId xmlns:a16="http://schemas.microsoft.com/office/drawing/2014/main" id="{5830C5C3-94A6-4139-AFC4-8E13F590D6B3}"/>
              </a:ext>
            </a:extLst>
          </p:cNvPr>
          <p:cNvSpPr/>
          <p:nvPr/>
        </p:nvSpPr>
        <p:spPr>
          <a:xfrm>
            <a:off x="7526196" y="1581150"/>
            <a:ext cx="1800000" cy="28800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300" kern="0" spc="-80" dirty="0">
                <a:solidFill>
                  <a:prstClr val="white"/>
                </a:solidFill>
                <a:latin typeface="Arial" panose="020B0604020202020204" pitchFamily="34" charset="0"/>
                <a:ea typeface="LG스마트체 Regular" panose="020B0600000101010101" pitchFamily="50" charset="-127"/>
                <a:cs typeface="Arial" panose="020B0604020202020204" pitchFamily="34" charset="0"/>
              </a:rPr>
              <a:t>Energy Saving</a:t>
            </a:r>
            <a:endPar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03" name="사각형: 둥근 모서리 26">
            <a:extLst>
              <a:ext uri="{FF2B5EF4-FFF2-40B4-BE49-F238E27FC236}">
                <a16:creationId xmlns:a16="http://schemas.microsoft.com/office/drawing/2014/main" id="{097ED587-ADE5-4D1E-BAEC-1F66DFD26B16}"/>
              </a:ext>
            </a:extLst>
          </p:cNvPr>
          <p:cNvSpPr/>
          <p:nvPr/>
        </p:nvSpPr>
        <p:spPr>
          <a:xfrm>
            <a:off x="606552" y="4012095"/>
            <a:ext cx="1800000" cy="28800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Comfort</a:t>
            </a:r>
            <a:endParaRPr kumimoji="0" lang="ko-KR" altLang="en-US"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204" name="사각형: 둥근 모서리 27">
            <a:extLst>
              <a:ext uri="{FF2B5EF4-FFF2-40B4-BE49-F238E27FC236}">
                <a16:creationId xmlns:a16="http://schemas.microsoft.com/office/drawing/2014/main" id="{10F181B1-E90B-46DE-A9FE-FE0F0BEF384A}"/>
              </a:ext>
            </a:extLst>
          </p:cNvPr>
          <p:cNvSpPr/>
          <p:nvPr/>
        </p:nvSpPr>
        <p:spPr>
          <a:xfrm>
            <a:off x="606552" y="1581150"/>
            <a:ext cx="1800000" cy="28800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Clean Air</a:t>
            </a:r>
          </a:p>
        </p:txBody>
      </p:sp>
      <p:sp>
        <p:nvSpPr>
          <p:cNvPr id="205" name="TextBox 204">
            <a:extLst>
              <a:ext uri="{FF2B5EF4-FFF2-40B4-BE49-F238E27FC236}">
                <a16:creationId xmlns:a16="http://schemas.microsoft.com/office/drawing/2014/main" id="{903D38C5-C0B2-49DF-A32B-33C1AF8E4452}"/>
              </a:ext>
            </a:extLst>
          </p:cNvPr>
          <p:cNvSpPr txBox="1"/>
          <p:nvPr/>
        </p:nvSpPr>
        <p:spPr>
          <a:xfrm>
            <a:off x="5914472" y="4657115"/>
            <a:ext cx="1790545" cy="769441"/>
          </a:xfrm>
          <a:prstGeom prst="rect">
            <a:avLst/>
          </a:prstGeom>
          <a:noFill/>
        </p:spPr>
        <p:txBody>
          <a:bodyPr wrap="square">
            <a:spAutoFit/>
          </a:bodyPr>
          <a:lstStyle>
            <a:defPPr>
              <a:defRPr lang="ko-KR"/>
            </a:defPPr>
            <a:lvl1pPr marL="177800" indent="-177800">
              <a:buFont typeface="Arial" panose="020B0604020202020204" pitchFamily="34" charset="0"/>
              <a:buChar char="•"/>
              <a:defRPr sz="1400">
                <a:latin typeface="LG스마트체 Regular" panose="020B0600000101010101" pitchFamily="50" charset="-127"/>
                <a:ea typeface="LG스마트체 Regular" panose="020B0600000101010101" pitchFamily="50" charset="-127"/>
              </a:defRPr>
            </a:lvl1pPr>
          </a:lstStyle>
          <a:p>
            <a:pPr marL="0" marR="0" lvl="0" indent="0" defTabSz="914400" eaLnBrk="1" fontAlgn="auto" latinLnBrk="0" hangingPunct="1">
              <a:lnSpc>
                <a:spcPct val="100000"/>
              </a:lnSpc>
              <a:spcBef>
                <a:spcPts val="0"/>
              </a:spcBef>
              <a:spcAft>
                <a:spcPts val="0"/>
              </a:spcAft>
              <a:buClrTx/>
              <a:buSzTx/>
              <a:buNone/>
              <a:tabLst/>
              <a:defRPr/>
            </a:pPr>
            <a:r>
              <a:rPr lang="en-US" altLang="ko-KR" sz="1100" dirty="0">
                <a:latin typeface="Arial" panose="020B0604020202020204" pitchFamily="34" charset="0"/>
                <a:ea typeface="+mn-ea"/>
                <a:cs typeface="Arial" panose="020B0604020202020204" pitchFamily="34" charset="0"/>
              </a:rPr>
              <a:t>Easy filter replacement - One-touch button cover opening and drawer-type filter separation structure </a:t>
            </a:r>
          </a:p>
        </p:txBody>
      </p:sp>
      <p:sp>
        <p:nvSpPr>
          <p:cNvPr id="206" name="직사각형 205">
            <a:extLst>
              <a:ext uri="{FF2B5EF4-FFF2-40B4-BE49-F238E27FC236}">
                <a16:creationId xmlns:a16="http://schemas.microsoft.com/office/drawing/2014/main" id="{0B256783-E2D1-4FD3-9F0C-E46313EE98F1}"/>
              </a:ext>
            </a:extLst>
          </p:cNvPr>
          <p:cNvSpPr/>
          <p:nvPr/>
        </p:nvSpPr>
        <p:spPr>
          <a:xfrm>
            <a:off x="98815" y="4255189"/>
            <a:ext cx="3647451" cy="430887"/>
          </a:xfrm>
          <a:prstGeom prst="rect">
            <a:avLst/>
          </a:prstGeom>
        </p:spPr>
        <p:txBody>
          <a:bodyPr wrap="square">
            <a:spAutoFit/>
            <a:scene3d>
              <a:camera prst="orthographicFront"/>
              <a:lightRig rig="threePt" dir="t"/>
            </a:scene3d>
            <a:sp3d extrusionH="50800">
              <a:bevelT w="1270" h="1270"/>
            </a:sp3d>
          </a:bodyPr>
          <a:lstStyle/>
          <a:p>
            <a:pPr fontAlgn="base">
              <a:spcBef>
                <a:spcPct val="0"/>
              </a:spcBef>
              <a:spcAft>
                <a:spcPts val="200"/>
              </a:spcAft>
              <a:defRPr/>
            </a:pPr>
            <a:r>
              <a:rPr lang="en-US" altLang="ko-KR" sz="1100" dirty="0">
                <a:latin typeface="Arial" panose="020B0604020202020204" pitchFamily="34" charset="0"/>
                <a:cs typeface="Arial" panose="020B0604020202020204" pitchFamily="34" charset="0"/>
              </a:rPr>
              <a:t>Optimized operating controls for air conditioner and ventilation</a:t>
            </a:r>
            <a:endParaRPr lang="ko-KR" altLang="en-US" sz="1100" dirty="0">
              <a:latin typeface="Arial" panose="020B0604020202020204" pitchFamily="34" charset="0"/>
              <a:cs typeface="Arial" panose="020B0604020202020204" pitchFamily="34" charset="0"/>
            </a:endParaRPr>
          </a:p>
        </p:txBody>
      </p:sp>
      <p:pic>
        <p:nvPicPr>
          <p:cNvPr id="227" name="그림 226">
            <a:extLst>
              <a:ext uri="{FF2B5EF4-FFF2-40B4-BE49-F238E27FC236}">
                <a16:creationId xmlns:a16="http://schemas.microsoft.com/office/drawing/2014/main" id="{627F6799-6706-4EED-A579-E5140884DB8F}"/>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t="-559"/>
          <a:stretch/>
        </p:blipFill>
        <p:spPr>
          <a:xfrm>
            <a:off x="6615189" y="2123808"/>
            <a:ext cx="1453852" cy="1453850"/>
          </a:xfrm>
          <a:prstGeom prst="ellipse">
            <a:avLst/>
          </a:prstGeom>
          <a:effectLst/>
        </p:spPr>
      </p:pic>
      <p:sp>
        <p:nvSpPr>
          <p:cNvPr id="229" name="직사각형 228">
            <a:extLst>
              <a:ext uri="{FF2B5EF4-FFF2-40B4-BE49-F238E27FC236}">
                <a16:creationId xmlns:a16="http://schemas.microsoft.com/office/drawing/2014/main" id="{F4661F15-303B-422A-A559-D4BB10B65E87}"/>
              </a:ext>
            </a:extLst>
          </p:cNvPr>
          <p:cNvSpPr/>
          <p:nvPr/>
        </p:nvSpPr>
        <p:spPr>
          <a:xfrm>
            <a:off x="372233" y="2660026"/>
            <a:ext cx="1238856" cy="261610"/>
          </a:xfrm>
          <a:prstGeom prst="rect">
            <a:avLst/>
          </a:prstGeom>
        </p:spPr>
        <p:txBody>
          <a:bodyPr wrap="square">
            <a:spAutoFit/>
          </a:bodyPr>
          <a:lstStyle/>
          <a:p>
            <a:pPr fontAlgn="base">
              <a:spcBef>
                <a:spcPct val="0"/>
              </a:spcBef>
              <a:spcAft>
                <a:spcPts val="200"/>
              </a:spcAft>
              <a:defRPr/>
            </a:pPr>
            <a:r>
              <a:rPr lang="en-US" altLang="ko-KR" sz="1100" dirty="0">
                <a:latin typeface="Arial" panose="020B0604020202020204" pitchFamily="34" charset="0"/>
                <a:cs typeface="Arial" panose="020B0604020202020204" pitchFamily="34" charset="0"/>
              </a:rPr>
              <a:t>MERV13 Filter </a:t>
            </a:r>
          </a:p>
        </p:txBody>
      </p:sp>
      <p:sp>
        <p:nvSpPr>
          <p:cNvPr id="231" name="직사각형 230">
            <a:extLst>
              <a:ext uri="{FF2B5EF4-FFF2-40B4-BE49-F238E27FC236}">
                <a16:creationId xmlns:a16="http://schemas.microsoft.com/office/drawing/2014/main" id="{38D3E6E6-61C5-4391-A418-E021D6613E53}"/>
              </a:ext>
            </a:extLst>
          </p:cNvPr>
          <p:cNvSpPr/>
          <p:nvPr/>
        </p:nvSpPr>
        <p:spPr>
          <a:xfrm>
            <a:off x="5612055" y="1667856"/>
            <a:ext cx="1582287" cy="769441"/>
          </a:xfrm>
          <a:prstGeom prst="rect">
            <a:avLst/>
          </a:prstGeom>
        </p:spPr>
        <p:txBody>
          <a:bodyPr wrap="square">
            <a:spAutoFit/>
          </a:bodyPr>
          <a:lstStyle/>
          <a:p>
            <a:pPr>
              <a:defRPr/>
            </a:pPr>
            <a:endParaRPr lang="en-US" altLang="ko-KR" sz="1100" dirty="0">
              <a:latin typeface="Arial" panose="020B0604020202020204" pitchFamily="34" charset="0"/>
              <a:cs typeface="Arial" panose="020B0604020202020204" pitchFamily="34" charset="0"/>
            </a:endParaRPr>
          </a:p>
          <a:p>
            <a:pPr>
              <a:defRPr/>
            </a:pPr>
            <a:r>
              <a:rPr lang="en-US" altLang="ko-KR" sz="1100" dirty="0">
                <a:latin typeface="Arial" panose="020B0604020202020204" pitchFamily="34" charset="0"/>
                <a:cs typeface="Arial" panose="020B0604020202020204" pitchFamily="34" charset="0"/>
              </a:rPr>
              <a:t>Total Energy (</a:t>
            </a:r>
            <a:r>
              <a:rPr lang="en-US" altLang="ko-KR" sz="1100" dirty="0" err="1">
                <a:latin typeface="Arial" panose="020B0604020202020204" pitchFamily="34" charset="0"/>
                <a:cs typeface="Arial" panose="020B0604020202020204" pitchFamily="34" charset="0"/>
              </a:rPr>
              <a:t>Sensible+Latent</a:t>
            </a:r>
            <a:r>
              <a:rPr lang="en-US" altLang="ko-KR" sz="1100" dirty="0">
                <a:latin typeface="Arial" panose="020B0604020202020204" pitchFamily="34" charset="0"/>
                <a:cs typeface="Arial" panose="020B0604020202020204" pitchFamily="34" charset="0"/>
              </a:rPr>
              <a:t>) Heat Exchanger</a:t>
            </a:r>
            <a:endParaRPr lang="ko-KR" altLang="en-US" sz="1100" dirty="0">
              <a:latin typeface="Arial" panose="020B0604020202020204" pitchFamily="34" charset="0"/>
              <a:cs typeface="Arial" panose="020B0604020202020204" pitchFamily="34" charset="0"/>
            </a:endParaRPr>
          </a:p>
        </p:txBody>
      </p:sp>
      <p:grpSp>
        <p:nvGrpSpPr>
          <p:cNvPr id="285" name="그룹 284">
            <a:extLst>
              <a:ext uri="{FF2B5EF4-FFF2-40B4-BE49-F238E27FC236}">
                <a16:creationId xmlns:a16="http://schemas.microsoft.com/office/drawing/2014/main" id="{15402A9F-1EFD-4A33-B337-D562EDFA9E14}"/>
              </a:ext>
            </a:extLst>
          </p:cNvPr>
          <p:cNvGrpSpPr/>
          <p:nvPr/>
        </p:nvGrpSpPr>
        <p:grpSpPr>
          <a:xfrm rot="20994318">
            <a:off x="6975992" y="2330365"/>
            <a:ext cx="608200" cy="738411"/>
            <a:chOff x="2833792" y="3550469"/>
            <a:chExt cx="1966809" cy="2387894"/>
          </a:xfrm>
        </p:grpSpPr>
        <p:sp>
          <p:nvSpPr>
            <p:cNvPr id="286" name="이등변 삼각형 285">
              <a:extLst>
                <a:ext uri="{FF2B5EF4-FFF2-40B4-BE49-F238E27FC236}">
                  <a16:creationId xmlns:a16="http://schemas.microsoft.com/office/drawing/2014/main" id="{5224D1C0-A7C0-4190-B40F-956B3B02409D}"/>
                </a:ext>
              </a:extLst>
            </p:cNvPr>
            <p:cNvSpPr/>
            <p:nvPr/>
          </p:nvSpPr>
          <p:spPr>
            <a:xfrm rot="20592406">
              <a:off x="2833792" y="3550469"/>
              <a:ext cx="1571326" cy="1072064"/>
            </a:xfrm>
            <a:prstGeom prst="triangle">
              <a:avLst>
                <a:gd name="adj" fmla="val 34372"/>
              </a:avLst>
            </a:prstGeom>
            <a:gradFill>
              <a:gsLst>
                <a:gs pos="1000">
                  <a:sysClr val="window" lastClr="FFFFFF">
                    <a:lumMod val="75000"/>
                    <a:alpha val="0"/>
                  </a:sysClr>
                </a:gs>
                <a:gs pos="100000">
                  <a:sysClr val="windowText" lastClr="000000">
                    <a:lumMod val="75000"/>
                    <a:lumOff val="25000"/>
                  </a:sys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2.0 SemiBold" panose="020B0600000101010101" pitchFamily="50" charset="-127"/>
                <a:cs typeface="Arial" panose="020B0604020202020204" pitchFamily="34" charset="0"/>
              </a:endParaRPr>
            </a:p>
          </p:txBody>
        </p:sp>
        <p:sp>
          <p:nvSpPr>
            <p:cNvPr id="287" name="타원 286">
              <a:extLst>
                <a:ext uri="{FF2B5EF4-FFF2-40B4-BE49-F238E27FC236}">
                  <a16:creationId xmlns:a16="http://schemas.microsoft.com/office/drawing/2014/main" id="{E616987E-0495-485C-98AE-DE6847D53A93}"/>
                </a:ext>
              </a:extLst>
            </p:cNvPr>
            <p:cNvSpPr/>
            <p:nvPr/>
          </p:nvSpPr>
          <p:spPr>
            <a:xfrm>
              <a:off x="3014499" y="4152264"/>
              <a:ext cx="1786102" cy="1786099"/>
            </a:xfrm>
            <a:prstGeom prst="ellipse">
              <a:avLst/>
            </a:prstGeom>
            <a:solidFill>
              <a:sysClr val="window" lastClr="FFFFFF">
                <a:lumMod val="95000"/>
              </a:sysClr>
            </a:solidFill>
            <a:ln w="19050" cap="flat" cmpd="sng" algn="ctr">
              <a:gradFill>
                <a:gsLst>
                  <a:gs pos="0">
                    <a:srgbClr val="C30037"/>
                  </a:gs>
                  <a:gs pos="100000">
                    <a:srgbClr val="F92763"/>
                  </a:gs>
                </a:gsLst>
                <a:lin ang="5400000" scaled="1"/>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sp>
        <p:nvSpPr>
          <p:cNvPr id="288" name="타원 287">
            <a:extLst>
              <a:ext uri="{FF2B5EF4-FFF2-40B4-BE49-F238E27FC236}">
                <a16:creationId xmlns:a16="http://schemas.microsoft.com/office/drawing/2014/main" id="{EAEDB072-4A7E-4F86-87DB-842A93880C32}"/>
              </a:ext>
            </a:extLst>
          </p:cNvPr>
          <p:cNvSpPr/>
          <p:nvPr/>
        </p:nvSpPr>
        <p:spPr>
          <a:xfrm>
            <a:off x="7014924" y="2365684"/>
            <a:ext cx="104598" cy="104598"/>
          </a:xfrm>
          <a:prstGeom prst="ellipse">
            <a:avLst/>
          </a:prstGeom>
          <a:solidFill>
            <a:sysClr val="windowText" lastClr="000000">
              <a:alpha val="38000"/>
            </a:sysClr>
          </a:solidFill>
          <a:ln w="19050" cap="flat" cmpd="sng" algn="ctr">
            <a:gradFill>
              <a:gsLst>
                <a:gs pos="0">
                  <a:srgbClr val="C30037"/>
                </a:gs>
                <a:gs pos="100000">
                  <a:srgbClr val="F92763"/>
                </a:gs>
              </a:gsLst>
              <a:lin ang="5400000" scaled="1"/>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pic>
        <p:nvPicPr>
          <p:cNvPr id="289" name="그림 288">
            <a:extLst>
              <a:ext uri="{FF2B5EF4-FFF2-40B4-BE49-F238E27FC236}">
                <a16:creationId xmlns:a16="http://schemas.microsoft.com/office/drawing/2014/main" id="{3C96E1B0-E963-461A-81B6-48047BE4645B}"/>
              </a:ext>
            </a:extLst>
          </p:cNvPr>
          <p:cNvPicPr>
            <a:picLocks noChangeAspect="1"/>
          </p:cNvPicPr>
          <p:nvPr/>
        </p:nvPicPr>
        <p:blipFill>
          <a:blip r:embed="rId15" cstate="email">
            <a:extLst>
              <a:ext uri="{28A0092B-C50C-407E-A947-70E740481C1C}">
                <a14:useLocalDpi xmlns:a14="http://schemas.microsoft.com/office/drawing/2010/main"/>
              </a:ext>
            </a:extLst>
          </a:blip>
          <a:stretch/>
        </p:blipFill>
        <p:spPr>
          <a:xfrm>
            <a:off x="7126346" y="2596707"/>
            <a:ext cx="383356" cy="548030"/>
          </a:xfrm>
          <a:prstGeom prst="rect">
            <a:avLst/>
          </a:prstGeom>
        </p:spPr>
      </p:pic>
      <p:pic>
        <p:nvPicPr>
          <p:cNvPr id="290" name="그림 289">
            <a:extLst>
              <a:ext uri="{FF2B5EF4-FFF2-40B4-BE49-F238E27FC236}">
                <a16:creationId xmlns:a16="http://schemas.microsoft.com/office/drawing/2014/main" id="{E1DDB86D-833B-41F1-B850-D1FE3B4A679A}"/>
              </a:ext>
            </a:extLst>
          </p:cNvPr>
          <p:cNvPicPr>
            <a:picLocks noChangeAspect="1"/>
          </p:cNvPicPr>
          <p:nvPr/>
        </p:nvPicPr>
        <p:blipFill>
          <a:blip r:embed="rId16" cstate="email">
            <a:lum bright="8000"/>
            <a:extLst>
              <a:ext uri="{28A0092B-C50C-407E-A947-70E740481C1C}">
                <a14:useLocalDpi xmlns:a14="http://schemas.microsoft.com/office/drawing/2010/main"/>
              </a:ext>
            </a:extLst>
          </a:blip>
          <a:srcRect/>
          <a:stretch/>
        </p:blipFill>
        <p:spPr>
          <a:xfrm>
            <a:off x="648471" y="2018336"/>
            <a:ext cx="716973" cy="716973"/>
          </a:xfrm>
          <a:prstGeom prst="rect">
            <a:avLst/>
          </a:prstGeom>
        </p:spPr>
      </p:pic>
      <p:sp>
        <p:nvSpPr>
          <p:cNvPr id="291" name="자유형: 도형 63">
            <a:extLst>
              <a:ext uri="{FF2B5EF4-FFF2-40B4-BE49-F238E27FC236}">
                <a16:creationId xmlns:a16="http://schemas.microsoft.com/office/drawing/2014/main" id="{5DC2A5D2-ACB9-4977-B50A-DD3A1A293002}"/>
              </a:ext>
            </a:extLst>
          </p:cNvPr>
          <p:cNvSpPr/>
          <p:nvPr/>
        </p:nvSpPr>
        <p:spPr>
          <a:xfrm>
            <a:off x="8295122" y="5718732"/>
            <a:ext cx="177575" cy="444215"/>
          </a:xfrm>
          <a:custGeom>
            <a:avLst/>
            <a:gdLst>
              <a:gd name="connsiteX0" fmla="*/ 129234 w 258468"/>
              <a:gd name="connsiteY0" fmla="*/ 0 h 450425"/>
              <a:gd name="connsiteX1" fmla="*/ 152094 w 258468"/>
              <a:gd name="connsiteY1" fmla="*/ 22860 h 450425"/>
              <a:gd name="connsiteX2" fmla="*/ 151434 w 258468"/>
              <a:gd name="connsiteY2" fmla="*/ 24453 h 450425"/>
              <a:gd name="connsiteX3" fmla="*/ 151953 w 258468"/>
              <a:gd name="connsiteY3" fmla="*/ 24453 h 450425"/>
              <a:gd name="connsiteX4" fmla="*/ 151953 w 258468"/>
              <a:gd name="connsiteY4" fmla="*/ 366687 h 450425"/>
              <a:gd name="connsiteX5" fmla="*/ 219653 w 258468"/>
              <a:gd name="connsiteY5" fmla="*/ 293612 h 450425"/>
              <a:gd name="connsiteX6" fmla="*/ 220414 w 258468"/>
              <a:gd name="connsiteY6" fmla="*/ 292790 h 450425"/>
              <a:gd name="connsiteX7" fmla="*/ 251619 w 258468"/>
              <a:gd name="connsiteY7" fmla="*/ 293612 h 450425"/>
              <a:gd name="connsiteX8" fmla="*/ 252380 w 258468"/>
              <a:gd name="connsiteY8" fmla="*/ 294433 h 450425"/>
              <a:gd name="connsiteX9" fmla="*/ 251619 w 258468"/>
              <a:gd name="connsiteY9" fmla="*/ 328117 h 450425"/>
              <a:gd name="connsiteX10" fmla="*/ 145141 w 258468"/>
              <a:gd name="connsiteY10" fmla="*/ 443032 h 450425"/>
              <a:gd name="connsiteX11" fmla="*/ 144380 w 258468"/>
              <a:gd name="connsiteY11" fmla="*/ 443854 h 450425"/>
              <a:gd name="connsiteX12" fmla="*/ 113174 w 258468"/>
              <a:gd name="connsiteY12" fmla="*/ 443032 h 450425"/>
              <a:gd name="connsiteX13" fmla="*/ 6620 w 258468"/>
              <a:gd name="connsiteY13" fmla="*/ 328133 h 450425"/>
              <a:gd name="connsiteX14" fmla="*/ 6620 w 258468"/>
              <a:gd name="connsiteY14" fmla="*/ 293629 h 450425"/>
              <a:gd name="connsiteX15" fmla="*/ 38587 w 258468"/>
              <a:gd name="connsiteY15" fmla="*/ 293629 h 450425"/>
              <a:gd name="connsiteX16" fmla="*/ 106325 w 258468"/>
              <a:gd name="connsiteY16" fmla="*/ 366703 h 450425"/>
              <a:gd name="connsiteX17" fmla="*/ 106325 w 258468"/>
              <a:gd name="connsiteY17" fmla="*/ 24453 h 450425"/>
              <a:gd name="connsiteX18" fmla="*/ 107034 w 258468"/>
              <a:gd name="connsiteY18" fmla="*/ 24453 h 450425"/>
              <a:gd name="connsiteX19" fmla="*/ 106374 w 258468"/>
              <a:gd name="connsiteY19" fmla="*/ 22860 h 450425"/>
              <a:gd name="connsiteX20" fmla="*/ 129234 w 258468"/>
              <a:gd name="connsiteY20" fmla="*/ 0 h 45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8468" h="450425">
                <a:moveTo>
                  <a:pt x="129234" y="0"/>
                </a:moveTo>
                <a:cubicBezTo>
                  <a:pt x="141859" y="0"/>
                  <a:pt x="152094" y="10235"/>
                  <a:pt x="152094" y="22860"/>
                </a:cubicBezTo>
                <a:lnTo>
                  <a:pt x="151434" y="24453"/>
                </a:lnTo>
                <a:lnTo>
                  <a:pt x="151953" y="24453"/>
                </a:lnTo>
                <a:lnTo>
                  <a:pt x="151953" y="366687"/>
                </a:lnTo>
                <a:lnTo>
                  <a:pt x="219653" y="293612"/>
                </a:lnTo>
                <a:cubicBezTo>
                  <a:pt x="219900" y="293332"/>
                  <a:pt x="220154" y="293058"/>
                  <a:pt x="220414" y="292790"/>
                </a:cubicBezTo>
                <a:cubicBezTo>
                  <a:pt x="229241" y="283716"/>
                  <a:pt x="243212" y="284083"/>
                  <a:pt x="251619" y="293612"/>
                </a:cubicBezTo>
                <a:cubicBezTo>
                  <a:pt x="251878" y="293879"/>
                  <a:pt x="252133" y="294153"/>
                  <a:pt x="252380" y="294433"/>
                </a:cubicBezTo>
                <a:cubicBezTo>
                  <a:pt x="260787" y="303961"/>
                  <a:pt x="260446" y="319041"/>
                  <a:pt x="251619" y="328117"/>
                </a:cubicBezTo>
                <a:lnTo>
                  <a:pt x="145141" y="443032"/>
                </a:lnTo>
                <a:cubicBezTo>
                  <a:pt x="144894" y="443312"/>
                  <a:pt x="144640" y="443586"/>
                  <a:pt x="144380" y="443854"/>
                </a:cubicBezTo>
                <a:cubicBezTo>
                  <a:pt x="135553" y="452928"/>
                  <a:pt x="121582" y="452560"/>
                  <a:pt x="113174" y="443032"/>
                </a:cubicBezTo>
                <a:lnTo>
                  <a:pt x="6620" y="328133"/>
                </a:lnTo>
                <a:cubicBezTo>
                  <a:pt x="-2207" y="318605"/>
                  <a:pt x="-2207" y="303157"/>
                  <a:pt x="6620" y="293629"/>
                </a:cubicBezTo>
                <a:cubicBezTo>
                  <a:pt x="15448" y="284101"/>
                  <a:pt x="29759" y="284101"/>
                  <a:pt x="38587" y="293629"/>
                </a:cubicBezTo>
                <a:lnTo>
                  <a:pt x="106325" y="366703"/>
                </a:lnTo>
                <a:lnTo>
                  <a:pt x="106325" y="24453"/>
                </a:lnTo>
                <a:lnTo>
                  <a:pt x="107034" y="24453"/>
                </a:lnTo>
                <a:lnTo>
                  <a:pt x="106374" y="22860"/>
                </a:lnTo>
                <a:cubicBezTo>
                  <a:pt x="106374" y="10235"/>
                  <a:pt x="116609" y="0"/>
                  <a:pt x="129234" y="0"/>
                </a:cubicBezTo>
                <a:close/>
              </a:path>
            </a:pathLst>
          </a:cu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296" name="TextBox 295"/>
          <p:cNvSpPr txBox="1"/>
          <p:nvPr/>
        </p:nvSpPr>
        <p:spPr>
          <a:xfrm>
            <a:off x="7940264" y="1961450"/>
            <a:ext cx="2015413" cy="702748"/>
          </a:xfrm>
          <a:prstGeom prst="rect">
            <a:avLst/>
          </a:prstGeom>
          <a:noFill/>
        </p:spPr>
        <p:txBody>
          <a:bodyPr wrap="square" lIns="91433" tIns="45716" rIns="91433" bIns="45716">
            <a:spAutoFit/>
            <a:scene3d>
              <a:camera prst="orthographicFront"/>
              <a:lightRig rig="threePt" dir="t"/>
            </a:scene3d>
            <a:sp3d extrusionH="50800">
              <a:bevelT w="1270" h="1270"/>
            </a:sp3d>
          </a:bodyPr>
          <a:lstStyle/>
          <a:p>
            <a:pPr marL="107991" indent="-107991" defTabSz="914321">
              <a:spcBef>
                <a:spcPts val="400"/>
              </a:spcBef>
              <a:buFont typeface="Arial" pitchFamily="34" charset="0"/>
              <a:buChar char="•"/>
              <a:defRPr/>
            </a:pPr>
            <a:r>
              <a:rPr kumimoji="1" lang="en-US" altLang="ko-KR" sz="1100" spc="-80" dirty="0">
                <a:solidFill>
                  <a:prstClr val="black">
                    <a:lumMod val="65000"/>
                    <a:lumOff val="35000"/>
                  </a:prstClr>
                </a:solidFill>
                <a:latin typeface="Arial" panose="020B0604020202020204" pitchFamily="34" charset="0"/>
                <a:ea typeface="맑은 고딕" panose="020B0503020000020004" pitchFamily="50" charset="-127"/>
                <a:cs typeface="Arial" panose="020B0604020202020204" pitchFamily="34" charset="0"/>
              </a:rPr>
              <a:t>Seasonal Auto Operation</a:t>
            </a:r>
          </a:p>
          <a:p>
            <a:pPr marL="107991" indent="-107991" defTabSz="914321">
              <a:spcBef>
                <a:spcPts val="400"/>
              </a:spcBef>
              <a:buFont typeface="Arial" pitchFamily="34" charset="0"/>
              <a:buChar char="•"/>
              <a:defRPr/>
            </a:pPr>
            <a:r>
              <a:rPr kumimoji="1" lang="en-US" altLang="ko-KR" sz="1100" spc="-80" dirty="0">
                <a:solidFill>
                  <a:prstClr val="black">
                    <a:lumMod val="65000"/>
                    <a:lumOff val="35000"/>
                  </a:prstClr>
                </a:solidFill>
                <a:latin typeface="Arial" panose="020B0604020202020204" pitchFamily="34" charset="0"/>
                <a:ea typeface="맑은 고딕" panose="020B0503020000020004" pitchFamily="50" charset="-127"/>
                <a:cs typeface="Arial" panose="020B0604020202020204" pitchFamily="34" charset="0"/>
              </a:rPr>
              <a:t>CO</a:t>
            </a:r>
            <a:r>
              <a:rPr kumimoji="1" lang="en-US" altLang="ko-KR" sz="1100" spc="-80" baseline="-25000" dirty="0">
                <a:solidFill>
                  <a:prstClr val="black">
                    <a:lumMod val="65000"/>
                    <a:lumOff val="35000"/>
                  </a:prstClr>
                </a:solidFill>
                <a:latin typeface="Arial" panose="020B0604020202020204" pitchFamily="34" charset="0"/>
                <a:ea typeface="맑은 고딕" panose="020B0503020000020004" pitchFamily="50" charset="-127"/>
                <a:cs typeface="Arial" panose="020B0604020202020204" pitchFamily="34" charset="0"/>
              </a:rPr>
              <a:t>2</a:t>
            </a:r>
            <a:r>
              <a:rPr kumimoji="1" lang="en-US" altLang="ko-KR" sz="1100" spc="-80" dirty="0">
                <a:solidFill>
                  <a:prstClr val="black">
                    <a:lumMod val="65000"/>
                    <a:lumOff val="35000"/>
                  </a:prstClr>
                </a:solidFill>
                <a:latin typeface="Arial" panose="020B0604020202020204" pitchFamily="34" charset="0"/>
                <a:ea typeface="맑은 고딕" panose="020B0503020000020004" pitchFamily="50" charset="-127"/>
                <a:cs typeface="Arial" panose="020B0604020202020204" pitchFamily="34" charset="0"/>
              </a:rPr>
              <a:t> Auto Operation </a:t>
            </a:r>
          </a:p>
          <a:p>
            <a:pPr marL="107991" indent="-107991" defTabSz="914321">
              <a:spcBef>
                <a:spcPts val="400"/>
              </a:spcBef>
              <a:buFont typeface="Arial" pitchFamily="34" charset="0"/>
              <a:buChar char="•"/>
              <a:defRPr/>
            </a:pPr>
            <a:r>
              <a:rPr kumimoji="1" lang="en-US" altLang="ko-KR" sz="1100" spc="-80" dirty="0">
                <a:solidFill>
                  <a:prstClr val="black">
                    <a:lumMod val="65000"/>
                    <a:lumOff val="35000"/>
                  </a:prstClr>
                </a:solidFill>
                <a:latin typeface="Arial" panose="020B0604020202020204" pitchFamily="34" charset="0"/>
                <a:ea typeface="맑은 고딕" panose="020B0503020000020004" pitchFamily="50" charset="-127"/>
                <a:cs typeface="Arial" panose="020B0604020202020204" pitchFamily="34" charset="0"/>
              </a:rPr>
              <a:t>Extracts energy from exhaust air</a:t>
            </a:r>
          </a:p>
        </p:txBody>
      </p:sp>
      <p:sp>
        <p:nvSpPr>
          <p:cNvPr id="297" name="TextBox 296"/>
          <p:cNvSpPr txBox="1"/>
          <p:nvPr/>
        </p:nvSpPr>
        <p:spPr bwMode="auto">
          <a:xfrm>
            <a:off x="5572175" y="5672132"/>
            <a:ext cx="2515331" cy="679665"/>
          </a:xfrm>
          <a:prstGeom prst="rect">
            <a:avLst/>
          </a:prstGeom>
          <a:noFill/>
        </p:spPr>
        <p:txBody>
          <a:bodyPr wrap="square" lIns="91433" tIns="45716" rIns="91433" bIns="45716">
            <a:spAutoFit/>
            <a:scene3d>
              <a:camera prst="orthographicFront"/>
              <a:lightRig rig="threePt" dir="t"/>
            </a:scene3d>
            <a:sp3d extrusionH="50800">
              <a:bevelT w="1270" h="1270"/>
            </a:sp3d>
          </a:bodyPr>
          <a:lstStyle>
            <a:defPPr>
              <a:defRPr lang="ko-KR"/>
            </a:defPPr>
            <a:lvl1pPr marL="107991" indent="-107991">
              <a:spcBef>
                <a:spcPts val="400"/>
              </a:spcBef>
              <a:buFont typeface="Arial" pitchFamily="34" charset="0"/>
              <a:buChar char="•"/>
              <a:defRPr sz="1100" b="1" spc="-150">
                <a:solidFill>
                  <a:prstClr val="black">
                    <a:lumMod val="65000"/>
                    <a:lumOff val="35000"/>
                  </a:prstClr>
                </a:solidFill>
                <a:latin typeface="Arial" panose="020B0604020202020204" pitchFamily="34" charset="0"/>
                <a:cs typeface="Arial" panose="020B0604020202020204" pitchFamily="34" charset="0"/>
              </a:defRPr>
            </a:lvl1pPr>
          </a:lstStyle>
          <a:p>
            <a:pPr defTabSz="914321">
              <a:defRPr/>
            </a:pPr>
            <a:r>
              <a:rPr kumimoji="1" lang="en-US" altLang="ko-KR" sz="1050" b="0" spc="-80" dirty="0"/>
              <a:t>Filter Maintenance Alarm</a:t>
            </a:r>
          </a:p>
          <a:p>
            <a:pPr defTabSz="914321">
              <a:defRPr/>
            </a:pPr>
            <a:r>
              <a:rPr kumimoji="1" lang="en-US" altLang="ko-KR" sz="1050" b="0" spc="-80" dirty="0"/>
              <a:t>Easy Filter Maintenance</a:t>
            </a:r>
          </a:p>
          <a:p>
            <a:pPr defTabSz="914321">
              <a:defRPr/>
            </a:pPr>
            <a:r>
              <a:rPr kumimoji="1" lang="en-US" altLang="ko-KR" sz="1050" b="0" spc="-80" dirty="0"/>
              <a:t>Easy access with </a:t>
            </a:r>
            <a:r>
              <a:rPr kumimoji="1" lang="en-US" altLang="ko-KR" sz="1050" b="0" spc="-80" dirty="0" err="1"/>
              <a:t>tooless</a:t>
            </a:r>
            <a:r>
              <a:rPr kumimoji="1" lang="en-US" altLang="ko-KR" sz="1050" b="0" spc="-80" dirty="0"/>
              <a:t> latches</a:t>
            </a:r>
          </a:p>
        </p:txBody>
      </p:sp>
      <p:sp>
        <p:nvSpPr>
          <p:cNvPr id="298" name="TextBox 297"/>
          <p:cNvSpPr txBox="1"/>
          <p:nvPr/>
        </p:nvSpPr>
        <p:spPr>
          <a:xfrm>
            <a:off x="2812197" y="5919112"/>
            <a:ext cx="2601368" cy="841248"/>
          </a:xfrm>
          <a:prstGeom prst="rect">
            <a:avLst/>
          </a:prstGeom>
          <a:noFill/>
        </p:spPr>
        <p:txBody>
          <a:bodyPr wrap="square" lIns="91433" tIns="45716" rIns="91433" bIns="45716">
            <a:spAutoFit/>
            <a:scene3d>
              <a:camera prst="orthographicFront"/>
              <a:lightRig rig="threePt" dir="t"/>
            </a:scene3d>
            <a:sp3d extrusionH="50800">
              <a:bevelT w="1270" h="1270"/>
            </a:sp3d>
          </a:bodyPr>
          <a:lstStyle>
            <a:defPPr>
              <a:defRPr lang="ko-KR"/>
            </a:defPPr>
            <a:lvl1pPr marL="107991" indent="-107991">
              <a:spcBef>
                <a:spcPts val="400"/>
              </a:spcBef>
              <a:buFont typeface="Arial" pitchFamily="34" charset="0"/>
              <a:buChar char="•"/>
              <a:defRPr sz="1100" b="1" spc="-150">
                <a:solidFill>
                  <a:prstClr val="black">
                    <a:lumMod val="65000"/>
                    <a:lumOff val="35000"/>
                  </a:prstClr>
                </a:solidFill>
                <a:latin typeface="Arial" panose="020B0604020202020204" pitchFamily="34" charset="0"/>
                <a:cs typeface="Arial" panose="020B0604020202020204" pitchFamily="34" charset="0"/>
              </a:defRPr>
            </a:lvl1pPr>
          </a:lstStyle>
          <a:p>
            <a:pPr defTabSz="914321">
              <a:defRPr/>
            </a:pPr>
            <a:r>
              <a:rPr kumimoji="1" lang="en-US" altLang="ko-KR" sz="1050" b="0" spc="-80" dirty="0"/>
              <a:t>Prefilter and MERV13 filter to remove particulates</a:t>
            </a:r>
          </a:p>
          <a:p>
            <a:pPr defTabSz="914321">
              <a:defRPr/>
            </a:pPr>
            <a:r>
              <a:rPr kumimoji="1" lang="en-US" altLang="ko-KR" sz="1050" b="0" spc="-80" dirty="0"/>
              <a:t>Quiet operation</a:t>
            </a:r>
          </a:p>
          <a:p>
            <a:pPr defTabSz="914321">
              <a:defRPr/>
            </a:pPr>
            <a:r>
              <a:rPr kumimoji="1" lang="en-US" altLang="ko-KR" sz="1050" b="0" spc="-80" dirty="0"/>
              <a:t>Factory installed CO2 sensor</a:t>
            </a:r>
          </a:p>
        </p:txBody>
      </p:sp>
      <p:sp>
        <p:nvSpPr>
          <p:cNvPr id="220" name="타원 219">
            <a:extLst>
              <a:ext uri="{FF2B5EF4-FFF2-40B4-BE49-F238E27FC236}">
                <a16:creationId xmlns:a16="http://schemas.microsoft.com/office/drawing/2014/main" id="{1601F179-6644-4D46-ADBE-E7656616A883}"/>
              </a:ext>
            </a:extLst>
          </p:cNvPr>
          <p:cNvSpPr/>
          <p:nvPr/>
        </p:nvSpPr>
        <p:spPr>
          <a:xfrm>
            <a:off x="3624946" y="2548952"/>
            <a:ext cx="2656108" cy="2656108"/>
          </a:xfrm>
          <a:prstGeom prst="ellipse">
            <a:avLst/>
          </a:prstGeom>
          <a:noFill/>
          <a:ln w="12700" cap="flat" cmpd="sng" algn="ctr">
            <a:noFill/>
            <a:prstDash val="sysDot"/>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2.0 Regular" panose="020B0600000101010101" pitchFamily="50" charset="-127"/>
              <a:cs typeface="Arial" panose="020B0604020202020204" pitchFamily="34" charset="0"/>
            </a:endParaRPr>
          </a:p>
        </p:txBody>
      </p:sp>
      <p:sp>
        <p:nvSpPr>
          <p:cNvPr id="221" name="원호 220">
            <a:extLst>
              <a:ext uri="{FF2B5EF4-FFF2-40B4-BE49-F238E27FC236}">
                <a16:creationId xmlns:a16="http://schemas.microsoft.com/office/drawing/2014/main" id="{4302BADB-4CFD-453A-8CB5-495FE48E00F6}"/>
              </a:ext>
            </a:extLst>
          </p:cNvPr>
          <p:cNvSpPr/>
          <p:nvPr/>
        </p:nvSpPr>
        <p:spPr>
          <a:xfrm>
            <a:off x="3632502" y="2549759"/>
            <a:ext cx="2645573" cy="2645573"/>
          </a:xfrm>
          <a:prstGeom prst="arc">
            <a:avLst>
              <a:gd name="adj1" fmla="val 16174837"/>
              <a:gd name="adj2" fmla="val 12989363"/>
            </a:avLst>
          </a:prstGeom>
          <a:noFill/>
          <a:ln w="63500" cap="flat" cmpd="sng" algn="ctr">
            <a:gradFill flip="none" rotWithShape="1">
              <a:gsLst>
                <a:gs pos="0">
                  <a:srgbClr val="C30037"/>
                </a:gs>
                <a:gs pos="100000">
                  <a:srgbClr val="F92763"/>
                </a:gs>
              </a:gsLst>
              <a:lin ang="10800000" scaled="1"/>
              <a:tileRect/>
            </a:gradFill>
            <a:prstDash val="solid"/>
            <a:miter lim="800000"/>
            <a:tailEnd type="triangl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pic>
        <p:nvPicPr>
          <p:cNvPr id="118" name="그림 11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893284" y="2135160"/>
            <a:ext cx="1477323" cy="1481627"/>
          </a:xfrm>
          <a:prstGeom prst="ellipse">
            <a:avLst/>
          </a:prstGeom>
        </p:spPr>
      </p:pic>
      <p:grpSp>
        <p:nvGrpSpPr>
          <p:cNvPr id="207" name="그룹 206">
            <a:extLst>
              <a:ext uri="{FF2B5EF4-FFF2-40B4-BE49-F238E27FC236}">
                <a16:creationId xmlns:a16="http://schemas.microsoft.com/office/drawing/2014/main" id="{963ABB52-7C46-4747-B9B8-EAF9640C24A5}"/>
              </a:ext>
            </a:extLst>
          </p:cNvPr>
          <p:cNvGrpSpPr/>
          <p:nvPr/>
        </p:nvGrpSpPr>
        <p:grpSpPr>
          <a:xfrm flipH="1">
            <a:off x="-54241" y="2291403"/>
            <a:ext cx="4954789" cy="1250122"/>
            <a:chOff x="4783819" y="2524766"/>
            <a:chExt cx="6546929" cy="1651828"/>
          </a:xfrm>
        </p:grpSpPr>
        <p:grpSp>
          <p:nvGrpSpPr>
            <p:cNvPr id="208" name="그룹 207">
              <a:extLst>
                <a:ext uri="{FF2B5EF4-FFF2-40B4-BE49-F238E27FC236}">
                  <a16:creationId xmlns:a16="http://schemas.microsoft.com/office/drawing/2014/main" id="{39511C51-F075-433F-9F43-7A64356938FE}"/>
                </a:ext>
              </a:extLst>
            </p:cNvPr>
            <p:cNvGrpSpPr/>
            <p:nvPr/>
          </p:nvGrpSpPr>
          <p:grpSpPr>
            <a:xfrm>
              <a:off x="4783819" y="2524766"/>
              <a:ext cx="5965044" cy="1587309"/>
              <a:chOff x="-902197" y="2710999"/>
              <a:chExt cx="11616750" cy="3091242"/>
            </a:xfrm>
          </p:grpSpPr>
          <p:sp>
            <p:nvSpPr>
              <p:cNvPr id="212" name="타원 211">
                <a:extLst>
                  <a:ext uri="{FF2B5EF4-FFF2-40B4-BE49-F238E27FC236}">
                    <a16:creationId xmlns:a16="http://schemas.microsoft.com/office/drawing/2014/main" id="{24949679-F5A8-49EE-8ED2-4ECAEFCAAA29}"/>
                  </a:ext>
                </a:extLst>
              </p:cNvPr>
              <p:cNvSpPr/>
              <p:nvPr/>
            </p:nvSpPr>
            <p:spPr>
              <a:xfrm>
                <a:off x="3463775" y="3806500"/>
                <a:ext cx="233498" cy="233487"/>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dirty="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213" name="타원 212">
                <a:extLst>
                  <a:ext uri="{FF2B5EF4-FFF2-40B4-BE49-F238E27FC236}">
                    <a16:creationId xmlns:a16="http://schemas.microsoft.com/office/drawing/2014/main" id="{D33BACEF-D973-48A4-A900-68E8A50C088A}"/>
                  </a:ext>
                </a:extLst>
              </p:cNvPr>
              <p:cNvSpPr/>
              <p:nvPr/>
            </p:nvSpPr>
            <p:spPr>
              <a:xfrm>
                <a:off x="5766570" y="5039578"/>
                <a:ext cx="233498" cy="233487"/>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dirty="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214" name="타원 213">
                <a:extLst>
                  <a:ext uri="{FF2B5EF4-FFF2-40B4-BE49-F238E27FC236}">
                    <a16:creationId xmlns:a16="http://schemas.microsoft.com/office/drawing/2014/main" id="{F739BE91-DC3E-4C42-BF69-7F7F3AE04EAC}"/>
                  </a:ext>
                </a:extLst>
              </p:cNvPr>
              <p:cNvSpPr/>
              <p:nvPr/>
            </p:nvSpPr>
            <p:spPr>
              <a:xfrm>
                <a:off x="5385368" y="5188500"/>
                <a:ext cx="233498" cy="233487"/>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dirty="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215" name="직사각형 10">
                <a:extLst>
                  <a:ext uri="{FF2B5EF4-FFF2-40B4-BE49-F238E27FC236}">
                    <a16:creationId xmlns:a16="http://schemas.microsoft.com/office/drawing/2014/main" id="{28EED768-F2F3-4E25-9F83-FA55E628BF98}"/>
                  </a:ext>
                </a:extLst>
              </p:cNvPr>
              <p:cNvSpPr/>
              <p:nvPr/>
            </p:nvSpPr>
            <p:spPr>
              <a:xfrm flipH="1">
                <a:off x="-902197" y="2710999"/>
                <a:ext cx="6771331" cy="2261898"/>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grpSp>
            <p:nvGrpSpPr>
              <p:cNvPr id="216" name="그룹 215">
                <a:extLst>
                  <a:ext uri="{FF2B5EF4-FFF2-40B4-BE49-F238E27FC236}">
                    <a16:creationId xmlns:a16="http://schemas.microsoft.com/office/drawing/2014/main" id="{46143AAE-EAD1-4322-B065-DD3B78977152}"/>
                  </a:ext>
                </a:extLst>
              </p:cNvPr>
              <p:cNvGrpSpPr/>
              <p:nvPr/>
            </p:nvGrpSpPr>
            <p:grpSpPr>
              <a:xfrm>
                <a:off x="3565193" y="3918258"/>
                <a:ext cx="7149360" cy="1883983"/>
                <a:chOff x="3565193" y="3608887"/>
                <a:chExt cx="7149360" cy="3046158"/>
              </a:xfrm>
            </p:grpSpPr>
            <p:sp>
              <p:nvSpPr>
                <p:cNvPr id="217" name="직사각형 10">
                  <a:extLst>
                    <a:ext uri="{FF2B5EF4-FFF2-40B4-BE49-F238E27FC236}">
                      <a16:creationId xmlns:a16="http://schemas.microsoft.com/office/drawing/2014/main" id="{DCF0BA2E-0229-41F4-AA35-F7AFC53BCEDE}"/>
                    </a:ext>
                  </a:extLst>
                </p:cNvPr>
                <p:cNvSpPr/>
                <p:nvPr/>
              </p:nvSpPr>
              <p:spPr>
                <a:xfrm rot="10800000" flipH="1">
                  <a:off x="3565193" y="3608887"/>
                  <a:ext cx="7149360" cy="3046142"/>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cxnSp>
              <p:nvCxnSpPr>
                <p:cNvPr id="218" name="직선 연결선 217">
                  <a:extLst>
                    <a:ext uri="{FF2B5EF4-FFF2-40B4-BE49-F238E27FC236}">
                      <a16:creationId xmlns:a16="http://schemas.microsoft.com/office/drawing/2014/main" id="{10DB1F84-3A44-46A1-99E6-633F9C9136BC}"/>
                    </a:ext>
                  </a:extLst>
                </p:cNvPr>
                <p:cNvCxnSpPr>
                  <a:cxnSpLocks/>
                </p:cNvCxnSpPr>
                <p:nvPr/>
              </p:nvCxnSpPr>
              <p:spPr>
                <a:xfrm flipH="1" flipV="1">
                  <a:off x="5493910" y="5799437"/>
                  <a:ext cx="0" cy="855608"/>
                </a:xfrm>
                <a:prstGeom prst="line">
                  <a:avLst/>
                </a:prstGeom>
                <a:noFill/>
                <a:ln w="12700" cap="flat" cmpd="sng" algn="ctr">
                  <a:solidFill>
                    <a:sysClr val="windowText" lastClr="000000"/>
                  </a:solidFill>
                  <a:prstDash val="solid"/>
                  <a:miter lim="800000"/>
                </a:ln>
                <a:effectLst/>
              </p:spPr>
            </p:cxnSp>
          </p:grpSp>
        </p:grpSp>
        <p:sp>
          <p:nvSpPr>
            <p:cNvPr id="210" name="직사각형 209">
              <a:extLst>
                <a:ext uri="{FF2B5EF4-FFF2-40B4-BE49-F238E27FC236}">
                  <a16:creationId xmlns:a16="http://schemas.microsoft.com/office/drawing/2014/main" id="{40E36FD1-AE95-408A-9451-4C5606509B58}"/>
                </a:ext>
              </a:extLst>
            </p:cNvPr>
            <p:cNvSpPr/>
            <p:nvPr/>
          </p:nvSpPr>
          <p:spPr>
            <a:xfrm>
              <a:off x="8633679" y="3614026"/>
              <a:ext cx="2697069" cy="562568"/>
            </a:xfrm>
            <a:prstGeom prst="rect">
              <a:avLst/>
            </a:prstGeom>
          </p:spPr>
          <p:txBody>
            <a:bodyPr wrap="square">
              <a:spAutoFit/>
              <a:scene3d>
                <a:camera prst="orthographicFront"/>
                <a:lightRig rig="threePt" dir="t"/>
              </a:scene3d>
              <a:sp3d extrusionH="50800">
                <a:bevelT w="1270" h="1270"/>
              </a:sp3d>
            </a:bodyPr>
            <a:lstStyle/>
            <a:p>
              <a:pPr marL="0" marR="0" lvl="0" indent="0" algn="r" defTabSz="914400" eaLnBrk="1" fontAlgn="base" latinLnBrk="0" hangingPunct="1">
                <a:lnSpc>
                  <a:spcPct val="100000"/>
                </a:lnSpc>
                <a:spcBef>
                  <a:spcPct val="0"/>
                </a:spcBef>
                <a:spcAft>
                  <a:spcPts val="200"/>
                </a:spcAft>
                <a:buClrTx/>
                <a:buSzTx/>
                <a:buFontTx/>
                <a:buNone/>
                <a:tabLst/>
                <a:defRPr/>
              </a:pPr>
              <a:r>
                <a:rPr kumimoji="1" lang="it-IT" altLang="ko-KR" sz="1000" i="0" u="none" strike="noStrike" kern="0" cap="none" spc="-80" normalizeH="0" baseline="0" noProof="0" dirty="0">
                  <a:ln>
                    <a:noFill/>
                  </a:ln>
                  <a:solidFill>
                    <a:prstClr val="black"/>
                  </a:solidFill>
                  <a:effectLst/>
                  <a:uLnTx/>
                  <a:uFillTx/>
                  <a:latin typeface="Arial" panose="020B0604020202020204" pitchFamily="34" charset="0"/>
                  <a:ea typeface="LG스마트체2.0 Regular" panose="020B0600000101010101" pitchFamily="50" charset="-127"/>
                  <a:cs typeface="Arial" panose="020B0604020202020204" pitchFamily="34" charset="0"/>
                </a:rPr>
                <a:t>Dual fine dust PM1.0 sensor</a:t>
              </a:r>
            </a:p>
            <a:p>
              <a:pPr marL="0" marR="0" lvl="0" indent="0" algn="r" defTabSz="914400" eaLnBrk="1" fontAlgn="base" latinLnBrk="0" hangingPunct="1">
                <a:lnSpc>
                  <a:spcPct val="100000"/>
                </a:lnSpc>
                <a:spcBef>
                  <a:spcPct val="0"/>
                </a:spcBef>
                <a:spcAft>
                  <a:spcPts val="200"/>
                </a:spcAft>
                <a:buClrTx/>
                <a:buSzTx/>
                <a:buFontTx/>
                <a:buNone/>
                <a:tabLst/>
                <a:defRPr/>
              </a:pPr>
              <a:r>
                <a:rPr kumimoji="1" lang="it-IT" altLang="ko-KR" sz="1000" i="0" u="none" strike="noStrike" kern="0" cap="none" spc="-80" normalizeH="0" baseline="0" noProof="0" dirty="0">
                  <a:ln>
                    <a:noFill/>
                  </a:ln>
                  <a:solidFill>
                    <a:prstClr val="black"/>
                  </a:solidFill>
                  <a:effectLst/>
                  <a:uLnTx/>
                  <a:uFillTx/>
                  <a:latin typeface="Arial" panose="020B0604020202020204" pitchFamily="34" charset="0"/>
                  <a:ea typeface="LG스마트체2.0 Regular" panose="020B0600000101010101" pitchFamily="50" charset="-127"/>
                  <a:cs typeface="Arial" panose="020B0604020202020204" pitchFamily="34" charset="0"/>
                </a:rPr>
                <a:t> CO2 concentration monitoring</a:t>
              </a:r>
              <a:endParaRPr kumimoji="1" lang="en-US" altLang="ko-KR" sz="1000" i="0" u="none" strike="noStrike" kern="0" cap="none" spc="-80" normalizeH="0" baseline="0" noProof="0" dirty="0">
                <a:ln>
                  <a:noFill/>
                </a:ln>
                <a:solidFill>
                  <a:prstClr val="black"/>
                </a:solidFill>
                <a:effectLst/>
                <a:uLnTx/>
                <a:uFillTx/>
                <a:latin typeface="Arial" panose="020B0604020202020204" pitchFamily="34" charset="0"/>
                <a:ea typeface="LG스마트체2.0 Regular" panose="020B0600000101010101" pitchFamily="50" charset="-127"/>
                <a:cs typeface="Arial" panose="020B0604020202020204" pitchFamily="34" charset="0"/>
              </a:endParaRPr>
            </a:p>
          </p:txBody>
        </p:sp>
      </p:grpSp>
      <p:sp>
        <p:nvSpPr>
          <p:cNvPr id="225" name="사각형: 둥근 모서리 28">
            <a:extLst>
              <a:ext uri="{FF2B5EF4-FFF2-40B4-BE49-F238E27FC236}">
                <a16:creationId xmlns:a16="http://schemas.microsoft.com/office/drawing/2014/main" id="{E751C5E3-5165-48BF-921C-C7FE6EFBD297}"/>
              </a:ext>
            </a:extLst>
          </p:cNvPr>
          <p:cNvSpPr/>
          <p:nvPr/>
        </p:nvSpPr>
        <p:spPr>
          <a:xfrm>
            <a:off x="4184285" y="2463860"/>
            <a:ext cx="1537427" cy="28800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Smart</a:t>
            </a:r>
            <a:r>
              <a:rPr kumimoji="0" lang="en-US" altLang="ko-KR" sz="1300" b="0" i="0" u="none" strike="noStrike" kern="0" cap="none" spc="-80" normalizeH="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 </a:t>
            </a:r>
            <a:r>
              <a:rPr lang="en-US" altLang="ko-KR" sz="1300" kern="0" spc="-80" dirty="0">
                <a:solidFill>
                  <a:prstClr val="white"/>
                </a:solidFill>
                <a:latin typeface="Arial" panose="020B0604020202020204" pitchFamily="34" charset="0"/>
                <a:ea typeface="LG스마트체 Regular" panose="020B0600000101010101" pitchFamily="50" charset="-127"/>
                <a:cs typeface="Arial" panose="020B0604020202020204" pitchFamily="34" charset="0"/>
              </a:rPr>
              <a:t>C</a:t>
            </a:r>
            <a:r>
              <a:rPr kumimoji="0" lang="en-US" altLang="ko-KR" sz="1300" b="0" i="0" u="none" strike="noStrike" kern="0" cap="none" spc="-80" normalizeH="0" baseline="0" noProof="0" dirty="0" err="1">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ontrols</a:t>
            </a:r>
            <a:endParaRPr kumimoji="0" lang="ko-KR" altLang="en-US"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pic>
        <p:nvPicPr>
          <p:cNvPr id="125" name="그림 124">
            <a:extLst>
              <a:ext uri="{FF2B5EF4-FFF2-40B4-BE49-F238E27FC236}">
                <a16:creationId xmlns:a16="http://schemas.microsoft.com/office/drawing/2014/main" id="{1FB2AC1A-AFDA-4B8D-A622-F49436B97942}"/>
              </a:ext>
            </a:extLst>
          </p:cNvPr>
          <p:cNvPicPr preferRelativeResize="0">
            <a:picLocks/>
          </p:cNvPicPr>
          <p:nvPr/>
        </p:nvPicPr>
        <p:blipFill rotWithShape="1">
          <a:blip r:embed="rId18">
            <a:extLst>
              <a:ext uri="{28A0092B-C50C-407E-A947-70E740481C1C}">
                <a14:useLocalDpi xmlns:a14="http://schemas.microsoft.com/office/drawing/2010/main" val="0"/>
              </a:ext>
            </a:extLst>
          </a:blip>
          <a:srcRect l="41" r="14578"/>
          <a:stretch/>
        </p:blipFill>
        <p:spPr>
          <a:xfrm>
            <a:off x="4239482" y="2887117"/>
            <a:ext cx="1284946" cy="1709714"/>
          </a:xfrm>
          <a:custGeom>
            <a:avLst/>
            <a:gdLst>
              <a:gd name="connsiteX0" fmla="*/ 0 w 2781300"/>
              <a:gd name="connsiteY0" fmla="*/ 0 h 3162300"/>
              <a:gd name="connsiteX1" fmla="*/ 2781300 w 2781300"/>
              <a:gd name="connsiteY1" fmla="*/ 0 h 3162300"/>
              <a:gd name="connsiteX2" fmla="*/ 2781300 w 2781300"/>
              <a:gd name="connsiteY2" fmla="*/ 3162300 h 3162300"/>
              <a:gd name="connsiteX3" fmla="*/ 0 w 2781300"/>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2781300" h="3162300">
                <a:moveTo>
                  <a:pt x="0" y="0"/>
                </a:moveTo>
                <a:lnTo>
                  <a:pt x="2781300" y="0"/>
                </a:lnTo>
                <a:lnTo>
                  <a:pt x="2781300" y="3162300"/>
                </a:lnTo>
                <a:lnTo>
                  <a:pt x="0" y="3162300"/>
                </a:lnTo>
                <a:close/>
              </a:path>
            </a:pathLst>
          </a:custGeom>
          <a:ln w="6350">
            <a:noFill/>
          </a:ln>
        </p:spPr>
      </p:pic>
      <p:sp>
        <p:nvSpPr>
          <p:cNvPr id="110" name="사각형: 둥근 모서리 25">
            <a:extLst>
              <a:ext uri="{FF2B5EF4-FFF2-40B4-BE49-F238E27FC236}">
                <a16:creationId xmlns:a16="http://schemas.microsoft.com/office/drawing/2014/main" id="{5830C5C3-94A6-4139-AFC4-8E13F590D6B3}"/>
              </a:ext>
            </a:extLst>
          </p:cNvPr>
          <p:cNvSpPr/>
          <p:nvPr/>
        </p:nvSpPr>
        <p:spPr>
          <a:xfrm>
            <a:off x="4329977" y="4610922"/>
            <a:ext cx="1141554" cy="252000"/>
          </a:xfrm>
          <a:prstGeom prst="roundRect">
            <a:avLst>
              <a:gd name="adj" fmla="val 50000"/>
            </a:avLst>
          </a:prstGeom>
          <a:solidFill>
            <a:srgbClr val="40404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7" name="직사각형 6"/>
          <p:cNvSpPr/>
          <p:nvPr/>
        </p:nvSpPr>
        <p:spPr>
          <a:xfrm>
            <a:off x="4466973" y="4621506"/>
            <a:ext cx="870752" cy="230832"/>
          </a:xfrm>
          <a:prstGeom prst="rect">
            <a:avLst/>
          </a:prstGeom>
        </p:spPr>
        <p:txBody>
          <a:bodyPr wrap="none">
            <a:spAutoFit/>
          </a:bodyPr>
          <a:lstStyle/>
          <a:p>
            <a:pPr lvl="0" algn="ctr" defTabSz="914400" fontAlgn="base">
              <a:spcBef>
                <a:spcPct val="0"/>
              </a:spcBef>
              <a:spcAft>
                <a:spcPts val="200"/>
              </a:spcAft>
              <a:defRPr/>
            </a:pPr>
            <a:r>
              <a:rPr lang="en-US" altLang="ko-KR" sz="900" kern="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LG Thermostat</a:t>
            </a:r>
          </a:p>
        </p:txBody>
      </p:sp>
      <p:pic>
        <p:nvPicPr>
          <p:cNvPr id="131" name="그림 130"/>
          <p:cNvPicPr>
            <a:picLocks noChangeAspect="1"/>
          </p:cNvPicPr>
          <p:nvPr/>
        </p:nvPicPr>
        <p:blipFill>
          <a:blip r:embed="rId19"/>
          <a:stretch>
            <a:fillRect/>
          </a:stretch>
        </p:blipFill>
        <p:spPr>
          <a:xfrm flipH="1">
            <a:off x="7513701" y="4408836"/>
            <a:ext cx="1665766" cy="1764025"/>
          </a:xfrm>
          <a:prstGeom prst="rect">
            <a:avLst/>
          </a:prstGeom>
        </p:spPr>
      </p:pic>
      <p:sp>
        <p:nvSpPr>
          <p:cNvPr id="6" name="Text Placeholder 5">
            <a:extLst>
              <a:ext uri="{FF2B5EF4-FFF2-40B4-BE49-F238E27FC236}">
                <a16:creationId xmlns:a16="http://schemas.microsoft.com/office/drawing/2014/main" id="{AC50370F-86FC-B19F-A8AB-9A7A02C09658}"/>
              </a:ext>
            </a:extLst>
          </p:cNvPr>
          <p:cNvSpPr>
            <a:spLocks noGrp="1"/>
          </p:cNvSpPr>
          <p:nvPr>
            <p:ph type="body" sz="quarter" idx="20"/>
          </p:nvPr>
        </p:nvSpPr>
        <p:spPr/>
        <p:txBody>
          <a:bodyPr/>
          <a:lstStyle/>
          <a:p>
            <a:endParaRPr lang="en-US"/>
          </a:p>
        </p:txBody>
      </p:sp>
    </p:spTree>
    <p:extLst>
      <p:ext uri="{BB962C8B-B14F-4D97-AF65-F5344CB8AC3E}">
        <p14:creationId xmlns:p14="http://schemas.microsoft.com/office/powerpoint/2010/main" val="798354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1333903" y="2586107"/>
            <a:ext cx="7238200" cy="821955"/>
            <a:chOff x="-548600" y="5312146"/>
            <a:chExt cx="7238200" cy="821955"/>
          </a:xfrm>
        </p:grpSpPr>
        <p:sp>
          <p:nvSpPr>
            <p:cNvPr id="8" name="TextBox 7">
              <a:extLst>
                <a:ext uri="{FF2B5EF4-FFF2-40B4-BE49-F238E27FC236}">
                  <a16:creationId xmlns:a16="http://schemas.microsoft.com/office/drawing/2014/main" id="{B136B945-D790-41EC-BAE4-E31E1F22B7B2}"/>
                </a:ext>
              </a:extLst>
            </p:cNvPr>
            <p:cNvSpPr txBox="1"/>
            <p:nvPr/>
          </p:nvSpPr>
          <p:spPr>
            <a:xfrm>
              <a:off x="-548600" y="5312146"/>
              <a:ext cx="7238200"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LG ERV Lineup and Features</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spTree>
    <p:extLst>
      <p:ext uri="{BB962C8B-B14F-4D97-AF65-F5344CB8AC3E}">
        <p14:creationId xmlns:p14="http://schemas.microsoft.com/office/powerpoint/2010/main" val="2528566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LG ERV Line-up</a:t>
            </a:r>
            <a:endParaRPr lang="ko-KR" altLang="en-US" dirty="0"/>
          </a:p>
        </p:txBody>
      </p:sp>
      <p:sp>
        <p:nvSpPr>
          <p:cNvPr id="4" name="텍스트 개체 틀 3"/>
          <p:cNvSpPr>
            <a:spLocks noGrp="1"/>
          </p:cNvSpPr>
          <p:nvPr>
            <p:ph type="body" sz="quarter" idx="21"/>
          </p:nvPr>
        </p:nvSpPr>
        <p:spPr>
          <a:xfrm>
            <a:off x="278422" y="748127"/>
            <a:ext cx="9342438" cy="246221"/>
          </a:xfrm>
        </p:spPr>
        <p:txBody>
          <a:bodyPr/>
          <a:lstStyle/>
          <a:p>
            <a:r>
              <a:rPr lang="en-US" altLang="ko-KR" dirty="0"/>
              <a:t>LG provides flexible line up of ERV(Energy Recovery Ventilation)</a:t>
            </a:r>
          </a:p>
        </p:txBody>
      </p:sp>
      <p:grpSp>
        <p:nvGrpSpPr>
          <p:cNvPr id="7" name="그룹 6"/>
          <p:cNvGrpSpPr/>
          <p:nvPr/>
        </p:nvGrpSpPr>
        <p:grpSpPr>
          <a:xfrm>
            <a:off x="3409168" y="2137387"/>
            <a:ext cx="6151834" cy="567479"/>
            <a:chOff x="6333787" y="-124456"/>
            <a:chExt cx="3131196" cy="366977"/>
          </a:xfrm>
        </p:grpSpPr>
        <p:sp>
          <p:nvSpPr>
            <p:cNvPr id="8" name="자유형 7"/>
            <p:cNvSpPr/>
            <p:nvPr/>
          </p:nvSpPr>
          <p:spPr>
            <a:xfrm>
              <a:off x="6333787" y="-124456"/>
              <a:ext cx="1643550" cy="366977"/>
            </a:xfrm>
            <a:custGeom>
              <a:avLst/>
              <a:gdLst>
                <a:gd name="connsiteX0" fmla="*/ 59083 w 1144153"/>
                <a:gd name="connsiteY0" fmla="*/ 0 h 366977"/>
                <a:gd name="connsiteX1" fmla="*/ 1085070 w 1144153"/>
                <a:gd name="connsiteY1" fmla="*/ 0 h 366977"/>
                <a:gd name="connsiteX2" fmla="*/ 1144153 w 1144153"/>
                <a:gd name="connsiteY2" fmla="*/ 59083 h 366977"/>
                <a:gd name="connsiteX3" fmla="*/ 1144153 w 1144153"/>
                <a:gd name="connsiteY3" fmla="*/ 366977 h 366977"/>
                <a:gd name="connsiteX4" fmla="*/ 0 w 1144153"/>
                <a:gd name="connsiteY4" fmla="*/ 366977 h 366977"/>
                <a:gd name="connsiteX5" fmla="*/ 0 w 1144153"/>
                <a:gd name="connsiteY5" fmla="*/ 59083 h 366977"/>
                <a:gd name="connsiteX6" fmla="*/ 59083 w 1144153"/>
                <a:gd name="connsiteY6" fmla="*/ 0 h 36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153" h="366977">
                  <a:moveTo>
                    <a:pt x="59083" y="0"/>
                  </a:moveTo>
                  <a:lnTo>
                    <a:pt x="1085070" y="0"/>
                  </a:lnTo>
                  <a:cubicBezTo>
                    <a:pt x="1117701" y="0"/>
                    <a:pt x="1144153" y="26452"/>
                    <a:pt x="1144153" y="59083"/>
                  </a:cubicBezTo>
                  <a:lnTo>
                    <a:pt x="1144153" y="366977"/>
                  </a:lnTo>
                  <a:lnTo>
                    <a:pt x="0" y="366977"/>
                  </a:lnTo>
                  <a:lnTo>
                    <a:pt x="0" y="59083"/>
                  </a:lnTo>
                  <a:cubicBezTo>
                    <a:pt x="0" y="26452"/>
                    <a:pt x="26452" y="0"/>
                    <a:pt x="59083" y="0"/>
                  </a:cubicBezTo>
                  <a:close/>
                </a:path>
              </a:pathLst>
            </a:custGeom>
            <a:gradFill flip="none" rotWithShape="1">
              <a:gsLst>
                <a:gs pos="0">
                  <a:srgbClr val="C60751"/>
                </a:gs>
                <a:gs pos="86000">
                  <a:srgbClr val="8F0F3D"/>
                </a:gs>
              </a:gsLst>
              <a:lin ang="8100000" scaled="1"/>
              <a:tileRect/>
            </a:gradFill>
            <a:ln w="25400" cap="flat" cmpd="sng" algn="ctr">
              <a:noFill/>
              <a:prstDash val="solid"/>
              <a:round/>
              <a:headEnd type="none" w="med" len="med"/>
              <a:tailEnd type="none" w="med" len="med"/>
            </a:ln>
            <a:effectLst/>
          </p:spPr>
          <p:txBody>
            <a:bodyPr vert="horz" wrap="square" lIns="89585" tIns="44791" rIns="89585" bIns="44791" numCol="1" rtlCol="0" anchor="ctr" anchorCtr="0" compatLnSpc="1">
              <a:prstTxWarp prst="textNoShape">
                <a:avLst/>
              </a:prstTxWarp>
              <a:noAutofit/>
            </a:bodyPr>
            <a:lstStyle/>
            <a:p>
              <a:pPr algn="ctr" defTabSz="912734" fontAlgn="base">
                <a:spcBef>
                  <a:spcPct val="30000"/>
                </a:spcBef>
                <a:spcAft>
                  <a:spcPct val="0"/>
                </a:spcAft>
              </a:pPr>
              <a:endParaRPr kumimoji="1" lang="ko-KR" altLang="en-US" sz="1000" b="1" u="sng">
                <a:solidFill>
                  <a:srgbClr val="000000"/>
                </a:solidFill>
                <a:latin typeface="Arial" panose="020B0604020202020204" pitchFamily="34" charset="0"/>
                <a:ea typeface="Dotum" pitchFamily="50" charset="-127"/>
                <a:cs typeface="Arial" panose="020B0604020202020204" pitchFamily="34" charset="0"/>
              </a:endParaRPr>
            </a:p>
          </p:txBody>
        </p:sp>
        <p:sp>
          <p:nvSpPr>
            <p:cNvPr id="9" name="자유형 8"/>
            <p:cNvSpPr/>
            <p:nvPr/>
          </p:nvSpPr>
          <p:spPr>
            <a:xfrm flipH="1">
              <a:off x="7853604" y="-124456"/>
              <a:ext cx="1611379" cy="366977"/>
            </a:xfrm>
            <a:custGeom>
              <a:avLst/>
              <a:gdLst>
                <a:gd name="connsiteX0" fmla="*/ 59083 w 1144153"/>
                <a:gd name="connsiteY0" fmla="*/ 0 h 366977"/>
                <a:gd name="connsiteX1" fmla="*/ 1085070 w 1144153"/>
                <a:gd name="connsiteY1" fmla="*/ 0 h 366977"/>
                <a:gd name="connsiteX2" fmla="*/ 1144153 w 1144153"/>
                <a:gd name="connsiteY2" fmla="*/ 59083 h 366977"/>
                <a:gd name="connsiteX3" fmla="*/ 1144153 w 1144153"/>
                <a:gd name="connsiteY3" fmla="*/ 366977 h 366977"/>
                <a:gd name="connsiteX4" fmla="*/ 0 w 1144153"/>
                <a:gd name="connsiteY4" fmla="*/ 366977 h 366977"/>
                <a:gd name="connsiteX5" fmla="*/ 0 w 1144153"/>
                <a:gd name="connsiteY5" fmla="*/ 59083 h 366977"/>
                <a:gd name="connsiteX6" fmla="*/ 59083 w 1144153"/>
                <a:gd name="connsiteY6" fmla="*/ 0 h 36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153" h="366977">
                  <a:moveTo>
                    <a:pt x="59083" y="0"/>
                  </a:moveTo>
                  <a:lnTo>
                    <a:pt x="1085070" y="0"/>
                  </a:lnTo>
                  <a:cubicBezTo>
                    <a:pt x="1117701" y="0"/>
                    <a:pt x="1144153" y="26452"/>
                    <a:pt x="1144153" y="59083"/>
                  </a:cubicBezTo>
                  <a:lnTo>
                    <a:pt x="1144153" y="366977"/>
                  </a:lnTo>
                  <a:lnTo>
                    <a:pt x="0" y="366977"/>
                  </a:lnTo>
                  <a:lnTo>
                    <a:pt x="0" y="59083"/>
                  </a:lnTo>
                  <a:cubicBezTo>
                    <a:pt x="0" y="26452"/>
                    <a:pt x="26452" y="0"/>
                    <a:pt x="59083" y="0"/>
                  </a:cubicBezTo>
                  <a:close/>
                </a:path>
              </a:pathLst>
            </a:custGeom>
            <a:gradFill flip="none" rotWithShape="1">
              <a:gsLst>
                <a:gs pos="0">
                  <a:srgbClr val="C60751"/>
                </a:gs>
                <a:gs pos="86000">
                  <a:srgbClr val="8F0F3D"/>
                </a:gs>
              </a:gsLst>
              <a:lin ang="8100000" scaled="1"/>
              <a:tileRect/>
            </a:gradFill>
            <a:ln w="25400" cap="flat" cmpd="sng" algn="ctr">
              <a:noFill/>
              <a:prstDash val="solid"/>
              <a:round/>
              <a:headEnd type="none" w="med" len="med"/>
              <a:tailEnd type="none" w="med" len="med"/>
            </a:ln>
            <a:effectLst/>
          </p:spPr>
          <p:txBody>
            <a:bodyPr vert="horz" wrap="square" lIns="89585" tIns="44791" rIns="89585" bIns="44791" numCol="1" rtlCol="0" anchor="ctr" anchorCtr="0" compatLnSpc="1">
              <a:prstTxWarp prst="textNoShape">
                <a:avLst/>
              </a:prstTxWarp>
              <a:noAutofit/>
            </a:bodyPr>
            <a:lstStyle/>
            <a:p>
              <a:pPr algn="ctr" defTabSz="912734" fontAlgn="base">
                <a:spcBef>
                  <a:spcPct val="30000"/>
                </a:spcBef>
                <a:spcAft>
                  <a:spcPct val="0"/>
                </a:spcAft>
              </a:pPr>
              <a:endParaRPr kumimoji="1" lang="ko-KR" altLang="en-US" sz="1000" b="1" u="sng">
                <a:solidFill>
                  <a:srgbClr val="000000"/>
                </a:solidFill>
                <a:latin typeface="Arial" panose="020B0604020202020204" pitchFamily="34" charset="0"/>
                <a:ea typeface="Dotum" pitchFamily="50" charset="-127"/>
                <a:cs typeface="Arial" panose="020B0604020202020204" pitchFamily="34" charset="0"/>
              </a:endParaRPr>
            </a:p>
          </p:txBody>
        </p:sp>
      </p:grpSp>
      <p:sp>
        <p:nvSpPr>
          <p:cNvPr id="10" name="TextBox 9"/>
          <p:cNvSpPr txBox="1"/>
          <p:nvPr/>
        </p:nvSpPr>
        <p:spPr>
          <a:xfrm>
            <a:off x="9220135" y="1929590"/>
            <a:ext cx="801449" cy="23083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defPPr>
              <a:defRPr lang="ko-KR"/>
            </a:defPPr>
            <a:lvl1pPr indent="0" algn="ctr" defTabSz="742950" latinLnBrk="0">
              <a:lnSpc>
                <a:spcPct val="90000"/>
              </a:lnSpc>
              <a:spcBef>
                <a:spcPct val="0"/>
              </a:spcBef>
              <a:spcAft>
                <a:spcPts val="200"/>
              </a:spcAft>
              <a:buFont typeface="Arial" panose="020B0604020202020204" pitchFamily="34" charset="0"/>
              <a:buNone/>
              <a:defRPr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CFM)</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14" name="그룹 13"/>
          <p:cNvGrpSpPr/>
          <p:nvPr/>
        </p:nvGrpSpPr>
        <p:grpSpPr>
          <a:xfrm>
            <a:off x="1825395" y="2153692"/>
            <a:ext cx="1622000" cy="567479"/>
            <a:chOff x="2439840" y="1628800"/>
            <a:chExt cx="997952" cy="366977"/>
          </a:xfrm>
        </p:grpSpPr>
        <p:sp>
          <p:nvSpPr>
            <p:cNvPr id="15" name="자유형 14"/>
            <p:cNvSpPr/>
            <p:nvPr/>
          </p:nvSpPr>
          <p:spPr>
            <a:xfrm>
              <a:off x="2439840" y="1628800"/>
              <a:ext cx="997952" cy="366977"/>
            </a:xfrm>
            <a:custGeom>
              <a:avLst/>
              <a:gdLst>
                <a:gd name="connsiteX0" fmla="*/ 59083 w 1144153"/>
                <a:gd name="connsiteY0" fmla="*/ 0 h 366977"/>
                <a:gd name="connsiteX1" fmla="*/ 1085070 w 1144153"/>
                <a:gd name="connsiteY1" fmla="*/ 0 h 366977"/>
                <a:gd name="connsiteX2" fmla="*/ 1144153 w 1144153"/>
                <a:gd name="connsiteY2" fmla="*/ 59083 h 366977"/>
                <a:gd name="connsiteX3" fmla="*/ 1144153 w 1144153"/>
                <a:gd name="connsiteY3" fmla="*/ 366977 h 366977"/>
                <a:gd name="connsiteX4" fmla="*/ 0 w 1144153"/>
                <a:gd name="connsiteY4" fmla="*/ 366977 h 366977"/>
                <a:gd name="connsiteX5" fmla="*/ 0 w 1144153"/>
                <a:gd name="connsiteY5" fmla="*/ 59083 h 366977"/>
                <a:gd name="connsiteX6" fmla="*/ 59083 w 1144153"/>
                <a:gd name="connsiteY6" fmla="*/ 0 h 36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153" h="366977">
                  <a:moveTo>
                    <a:pt x="59083" y="0"/>
                  </a:moveTo>
                  <a:lnTo>
                    <a:pt x="1085070" y="0"/>
                  </a:lnTo>
                  <a:cubicBezTo>
                    <a:pt x="1117701" y="0"/>
                    <a:pt x="1144153" y="26452"/>
                    <a:pt x="1144153" y="59083"/>
                  </a:cubicBezTo>
                  <a:lnTo>
                    <a:pt x="1144153" y="366977"/>
                  </a:lnTo>
                  <a:lnTo>
                    <a:pt x="0" y="366977"/>
                  </a:lnTo>
                  <a:lnTo>
                    <a:pt x="0" y="59083"/>
                  </a:lnTo>
                  <a:cubicBezTo>
                    <a:pt x="0" y="26452"/>
                    <a:pt x="26452" y="0"/>
                    <a:pt x="59083" y="0"/>
                  </a:cubicBezTo>
                  <a:close/>
                </a:path>
              </a:pathLst>
            </a:custGeom>
            <a:gradFill flip="none" rotWithShape="1">
              <a:gsLst>
                <a:gs pos="0">
                  <a:srgbClr val="C60751"/>
                </a:gs>
                <a:gs pos="86000">
                  <a:srgbClr val="8F0F3D"/>
                </a:gs>
              </a:gsLst>
              <a:lin ang="8100000" scaled="1"/>
              <a:tileRect/>
            </a:gradFill>
            <a:ln w="25400" cap="flat" cmpd="sng" algn="ctr">
              <a:noFill/>
              <a:prstDash val="solid"/>
              <a:round/>
              <a:headEnd type="none" w="med" len="med"/>
              <a:tailEnd type="none" w="med" len="med"/>
            </a:ln>
            <a:effectLst/>
          </p:spPr>
          <p:txBody>
            <a:bodyPr vert="horz" wrap="square" lIns="89585" tIns="44791" rIns="89585" bIns="44791" numCol="1" rtlCol="0" anchor="ctr" anchorCtr="0" compatLnSpc="1">
              <a:prstTxWarp prst="textNoShape">
                <a:avLst/>
              </a:prstTxWarp>
              <a:noAutofit/>
            </a:bodyPr>
            <a:lstStyle/>
            <a:p>
              <a:pPr algn="ctr" defTabSz="912734" fontAlgn="base">
                <a:spcBef>
                  <a:spcPct val="30000"/>
                </a:spcBef>
                <a:spcAft>
                  <a:spcPct val="0"/>
                </a:spcAft>
              </a:pPr>
              <a:endParaRPr kumimoji="1" lang="ko-KR" altLang="en-US" sz="1000" b="1" u="sng">
                <a:solidFill>
                  <a:srgbClr val="000000"/>
                </a:solidFill>
                <a:latin typeface="Arial" panose="020B0604020202020204" pitchFamily="34" charset="0"/>
                <a:ea typeface="Dotum" pitchFamily="50" charset="-127"/>
                <a:cs typeface="Arial" panose="020B0604020202020204" pitchFamily="34" charset="0"/>
              </a:endParaRPr>
            </a:p>
          </p:txBody>
        </p:sp>
        <p:sp>
          <p:nvSpPr>
            <p:cNvPr id="16" name="직사각형 15"/>
            <p:cNvSpPr/>
            <p:nvPr/>
          </p:nvSpPr>
          <p:spPr>
            <a:xfrm>
              <a:off x="2473171" y="1699132"/>
              <a:ext cx="850647"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Image</a:t>
              </a:r>
              <a:endParaRPr lang="ko-KR" altLang="en-US" sz="1100" b="1" spc="-150" dirty="0">
                <a:solidFill>
                  <a:prstClr val="white"/>
                </a:solidFill>
                <a:latin typeface="Arial" panose="020B0604020202020204" pitchFamily="34" charset="0"/>
                <a:cs typeface="Arial" panose="020B0604020202020204" pitchFamily="34" charset="0"/>
              </a:endParaRPr>
            </a:p>
          </p:txBody>
        </p:sp>
      </p:grpSp>
      <p:sp>
        <p:nvSpPr>
          <p:cNvPr id="22" name="직사각형 21"/>
          <p:cNvSpPr/>
          <p:nvPr/>
        </p:nvSpPr>
        <p:spPr>
          <a:xfrm>
            <a:off x="643425" y="2260386"/>
            <a:ext cx="1106827" cy="378367"/>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Cat.</a:t>
            </a:r>
            <a:endParaRPr lang="ko-KR" altLang="en-US" sz="1100" b="1" spc="-150" dirty="0">
              <a:solidFill>
                <a:prstClr val="white"/>
              </a:solidFill>
              <a:latin typeface="Arial" panose="020B0604020202020204" pitchFamily="34" charset="0"/>
              <a:cs typeface="Arial" panose="020B0604020202020204" pitchFamily="34" charset="0"/>
            </a:endParaRPr>
          </a:p>
        </p:txBody>
      </p:sp>
      <p:sp>
        <p:nvSpPr>
          <p:cNvPr id="23" name="직사각형 22"/>
          <p:cNvSpPr/>
          <p:nvPr/>
        </p:nvSpPr>
        <p:spPr>
          <a:xfrm>
            <a:off x="5727805" y="2365387"/>
            <a:ext cx="528929"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470</a:t>
            </a:r>
            <a:endParaRPr lang="ko-KR" altLang="en-US" sz="1100" b="1" spc="-150" dirty="0">
              <a:solidFill>
                <a:prstClr val="white"/>
              </a:solidFill>
              <a:latin typeface="Arial" panose="020B0604020202020204" pitchFamily="34" charset="0"/>
              <a:cs typeface="Arial" panose="020B0604020202020204" pitchFamily="34" charset="0"/>
            </a:endParaRPr>
          </a:p>
        </p:txBody>
      </p:sp>
      <p:cxnSp>
        <p:nvCxnSpPr>
          <p:cNvPr id="25" name="직선 연결선 24"/>
          <p:cNvCxnSpPr/>
          <p:nvPr/>
        </p:nvCxnSpPr>
        <p:spPr>
          <a:xfrm>
            <a:off x="5504220" y="2284652"/>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직선 연결선 25"/>
          <p:cNvCxnSpPr/>
          <p:nvPr/>
        </p:nvCxnSpPr>
        <p:spPr>
          <a:xfrm>
            <a:off x="6533058" y="2271202"/>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직선 연결선 26"/>
          <p:cNvCxnSpPr/>
          <p:nvPr/>
        </p:nvCxnSpPr>
        <p:spPr>
          <a:xfrm>
            <a:off x="7570867" y="2268365"/>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직선 연결선 27"/>
          <p:cNvCxnSpPr/>
          <p:nvPr/>
        </p:nvCxnSpPr>
        <p:spPr>
          <a:xfrm>
            <a:off x="8601418" y="2310396"/>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9" name="표 108"/>
          <p:cNvGraphicFramePr>
            <a:graphicFrameLocks noGrp="1"/>
          </p:cNvGraphicFramePr>
          <p:nvPr>
            <p:extLst>
              <p:ext uri="{D42A27DB-BD31-4B8C-83A1-F6EECF244321}">
                <p14:modId xmlns:p14="http://schemas.microsoft.com/office/powerpoint/2010/main" val="666839328"/>
              </p:ext>
            </p:extLst>
          </p:nvPr>
        </p:nvGraphicFramePr>
        <p:xfrm>
          <a:off x="643425" y="2638753"/>
          <a:ext cx="8905411" cy="3430898"/>
        </p:xfrm>
        <a:graphic>
          <a:graphicData uri="http://schemas.openxmlformats.org/drawingml/2006/table">
            <a:tbl>
              <a:tblPr firstRow="1" bandRow="1">
                <a:tableStyleId>{5940675A-B579-460E-94D1-54222C63F5DA}</a:tableStyleId>
              </a:tblPr>
              <a:tblGrid>
                <a:gridCol w="1144289">
                  <a:extLst>
                    <a:ext uri="{9D8B030D-6E8A-4147-A177-3AD203B41FA5}">
                      <a16:colId xmlns:a16="http://schemas.microsoft.com/office/drawing/2014/main" val="20000"/>
                    </a:ext>
                  </a:extLst>
                </a:gridCol>
                <a:gridCol w="1651786">
                  <a:extLst>
                    <a:ext uri="{9D8B030D-6E8A-4147-A177-3AD203B41FA5}">
                      <a16:colId xmlns:a16="http://schemas.microsoft.com/office/drawing/2014/main" val="20001"/>
                    </a:ext>
                  </a:extLst>
                </a:gridCol>
                <a:gridCol w="1027515">
                  <a:extLst>
                    <a:ext uri="{9D8B030D-6E8A-4147-A177-3AD203B41FA5}">
                      <a16:colId xmlns:a16="http://schemas.microsoft.com/office/drawing/2014/main" val="20002"/>
                    </a:ext>
                  </a:extLst>
                </a:gridCol>
                <a:gridCol w="1027515">
                  <a:extLst>
                    <a:ext uri="{9D8B030D-6E8A-4147-A177-3AD203B41FA5}">
                      <a16:colId xmlns:a16="http://schemas.microsoft.com/office/drawing/2014/main" val="20003"/>
                    </a:ext>
                  </a:extLst>
                </a:gridCol>
                <a:gridCol w="1027515">
                  <a:extLst>
                    <a:ext uri="{9D8B030D-6E8A-4147-A177-3AD203B41FA5}">
                      <a16:colId xmlns:a16="http://schemas.microsoft.com/office/drawing/2014/main" val="20004"/>
                    </a:ext>
                  </a:extLst>
                </a:gridCol>
                <a:gridCol w="1027515">
                  <a:extLst>
                    <a:ext uri="{9D8B030D-6E8A-4147-A177-3AD203B41FA5}">
                      <a16:colId xmlns:a16="http://schemas.microsoft.com/office/drawing/2014/main" val="20005"/>
                    </a:ext>
                  </a:extLst>
                </a:gridCol>
                <a:gridCol w="1027515">
                  <a:extLst>
                    <a:ext uri="{9D8B030D-6E8A-4147-A177-3AD203B41FA5}">
                      <a16:colId xmlns:a16="http://schemas.microsoft.com/office/drawing/2014/main" val="20006"/>
                    </a:ext>
                  </a:extLst>
                </a:gridCol>
                <a:gridCol w="971761">
                  <a:extLst>
                    <a:ext uri="{9D8B030D-6E8A-4147-A177-3AD203B41FA5}">
                      <a16:colId xmlns:a16="http://schemas.microsoft.com/office/drawing/2014/main" val="20007"/>
                    </a:ext>
                  </a:extLst>
                </a:gridCol>
              </a:tblGrid>
              <a:tr h="1689327">
                <a:tc rowSpan="2">
                  <a:txBody>
                    <a:bodyPr/>
                    <a:lstStyle/>
                    <a:p>
                      <a:pPr algn="ctr" latinLnBrk="1"/>
                      <a:r>
                        <a:rPr lang="en-US" altLang="ko-KR" sz="1100" b="1" kern="1200" spc="0" dirty="0">
                          <a:solidFill>
                            <a:schemeClr val="tx1">
                              <a:lumMod val="75000"/>
                              <a:lumOff val="25000"/>
                            </a:schemeClr>
                          </a:solidFill>
                          <a:latin typeface="Arial" panose="020B0604020202020204" pitchFamily="34" charset="0"/>
                          <a:ea typeface="+mn-ea"/>
                          <a:cs typeface="Arial" panose="020B0604020202020204" pitchFamily="34" charset="0"/>
                        </a:rPr>
                        <a:t>ERV</a:t>
                      </a:r>
                      <a:endParaRPr lang="ko-KR" altLang="en-US" sz="1100" b="1" kern="1200" spc="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latinLnBrk="1"/>
                      <a:endParaRPr lang="ko-KR" altLang="en-US" sz="1100" b="1" kern="1200" spc="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8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41571">
                <a:tc vMerge="1">
                  <a:txBody>
                    <a:bodyPr/>
                    <a:lstStyle/>
                    <a:p>
                      <a:pPr algn="ctr" latinLnBrk="1"/>
                      <a:endParaRPr lang="ko-KR" altLang="en-US" sz="1000" b="1" kern="1200" spc="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0" marR="0" marT="0" marB="0" anchor="ctr">
                    <a:lnL w="3175" cap="flat" cmpd="sng" algn="ctr">
                      <a:noFill/>
                      <a:prstDash val="sysDot"/>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latinLnBrk="1"/>
                      <a:endParaRPr lang="ko-KR" altLang="en-US" sz="1100" b="1" kern="1200" spc="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8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endParaRPr lang="ko-KR" altLang="en-US" sz="1600" b="0" i="0" u="none" strike="noStrike" spc="0" dirty="0">
                        <a:solidFill>
                          <a:schemeClr val="bg1">
                            <a:lumMod val="50000"/>
                          </a:schemeClr>
                        </a:solidFill>
                        <a:effectLst/>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pic>
        <p:nvPicPr>
          <p:cNvPr id="110"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970223" y="4874201"/>
            <a:ext cx="1289707" cy="585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5" name="직사각형 114"/>
          <p:cNvSpPr/>
          <p:nvPr/>
        </p:nvSpPr>
        <p:spPr>
          <a:xfrm>
            <a:off x="6856545" y="2376563"/>
            <a:ext cx="528929"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590</a:t>
            </a:r>
            <a:endParaRPr lang="ko-KR" altLang="en-US" sz="1100" b="1" spc="-150" dirty="0">
              <a:solidFill>
                <a:prstClr val="white"/>
              </a:solidFill>
              <a:latin typeface="Arial" panose="020B0604020202020204" pitchFamily="34" charset="0"/>
              <a:cs typeface="Arial" panose="020B0604020202020204" pitchFamily="34" charset="0"/>
            </a:endParaRPr>
          </a:p>
        </p:txBody>
      </p:sp>
      <p:sp>
        <p:nvSpPr>
          <p:cNvPr id="116" name="직사각형 115"/>
          <p:cNvSpPr/>
          <p:nvPr/>
        </p:nvSpPr>
        <p:spPr>
          <a:xfrm>
            <a:off x="7798810" y="2379963"/>
            <a:ext cx="528929"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880</a:t>
            </a:r>
            <a:endParaRPr lang="ko-KR" altLang="en-US" sz="1100" b="1" spc="-150" dirty="0">
              <a:solidFill>
                <a:prstClr val="white"/>
              </a:solidFill>
              <a:latin typeface="Arial" panose="020B0604020202020204" pitchFamily="34" charset="0"/>
              <a:cs typeface="Arial" panose="020B0604020202020204" pitchFamily="34" charset="0"/>
            </a:endParaRPr>
          </a:p>
        </p:txBody>
      </p:sp>
      <p:sp>
        <p:nvSpPr>
          <p:cNvPr id="117" name="직사각형 116"/>
          <p:cNvSpPr/>
          <p:nvPr/>
        </p:nvSpPr>
        <p:spPr>
          <a:xfrm>
            <a:off x="8601418" y="2360847"/>
            <a:ext cx="931083"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1180</a:t>
            </a:r>
            <a:endParaRPr lang="ko-KR" altLang="en-US" sz="1100" b="1" spc="-150" dirty="0">
              <a:solidFill>
                <a:prstClr val="white"/>
              </a:solidFill>
              <a:latin typeface="Arial" panose="020B0604020202020204" pitchFamily="34" charset="0"/>
              <a:cs typeface="Arial" panose="020B0604020202020204" pitchFamily="34" charset="0"/>
            </a:endParaRPr>
          </a:p>
        </p:txBody>
      </p:sp>
      <p:pic>
        <p:nvPicPr>
          <p:cNvPr id="121" name="그림 120">
            <a:extLst>
              <a:ext uri="{FF2B5EF4-FFF2-40B4-BE49-F238E27FC236}">
                <a16:creationId xmlns:a16="http://schemas.microsoft.com/office/drawing/2014/main" id="{CD6558AE-8BA3-4AAB-9465-49528C5E80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74493" y="3440591"/>
            <a:ext cx="1130887" cy="667477"/>
          </a:xfrm>
          <a:prstGeom prst="rect">
            <a:avLst/>
          </a:prstGeom>
        </p:spPr>
      </p:pic>
      <p:sp>
        <p:nvSpPr>
          <p:cNvPr id="122" name="직사각형 121"/>
          <p:cNvSpPr/>
          <p:nvPr/>
        </p:nvSpPr>
        <p:spPr>
          <a:xfrm>
            <a:off x="3740335" y="2352993"/>
            <a:ext cx="528929"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90</a:t>
            </a:r>
            <a:endParaRPr lang="ko-KR" altLang="en-US" sz="1100" b="1" spc="-150" dirty="0">
              <a:solidFill>
                <a:prstClr val="white"/>
              </a:solidFill>
              <a:latin typeface="Arial" panose="020B0604020202020204" pitchFamily="34" charset="0"/>
              <a:cs typeface="Arial" panose="020B0604020202020204" pitchFamily="34" charset="0"/>
            </a:endParaRPr>
          </a:p>
        </p:txBody>
      </p:sp>
      <p:cxnSp>
        <p:nvCxnSpPr>
          <p:cNvPr id="123" name="직선 연결선 122"/>
          <p:cNvCxnSpPr/>
          <p:nvPr/>
        </p:nvCxnSpPr>
        <p:spPr>
          <a:xfrm>
            <a:off x="3455543" y="2284652"/>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직선 연결선 123"/>
          <p:cNvCxnSpPr/>
          <p:nvPr/>
        </p:nvCxnSpPr>
        <p:spPr>
          <a:xfrm>
            <a:off x="4478023" y="2256737"/>
            <a:ext cx="0" cy="278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5" name="직사각형 124"/>
          <p:cNvSpPr/>
          <p:nvPr/>
        </p:nvSpPr>
        <p:spPr>
          <a:xfrm>
            <a:off x="4784539" y="2376025"/>
            <a:ext cx="528929" cy="244682"/>
          </a:xfrm>
          <a:prstGeom prst="rect">
            <a:avLst/>
          </a:prstGeom>
          <a:noFill/>
          <a:scene3d>
            <a:camera prst="orthographicFront"/>
            <a:lightRig rig="threePt" dir="t"/>
          </a:scene3d>
          <a:sp3d>
            <a:bevelT w="1270" h="1270"/>
          </a:sp3d>
        </p:spPr>
        <p:txBody>
          <a:bodyPr wrap="square" rtlCol="0">
            <a:spAutoFit/>
            <a:scene3d>
              <a:camera prst="orthographicFront"/>
              <a:lightRig rig="threePt" dir="t"/>
            </a:scene3d>
            <a:sp3d extrusionH="57150">
              <a:bevelT w="1270" h="1270"/>
            </a:sp3d>
          </a:bodyPr>
          <a:lstStyle/>
          <a:p>
            <a:pPr algn="ctr" defTabSz="742886">
              <a:lnSpc>
                <a:spcPct val="90000"/>
              </a:lnSpc>
              <a:spcBef>
                <a:spcPct val="0"/>
              </a:spcBef>
            </a:pPr>
            <a:r>
              <a:rPr lang="en-US" altLang="ko-KR" sz="1100" b="1" spc="-150" dirty="0">
                <a:solidFill>
                  <a:prstClr val="white"/>
                </a:solidFill>
                <a:latin typeface="Arial" panose="020B0604020202020204" pitchFamily="34" charset="0"/>
                <a:cs typeface="Arial" panose="020B0604020202020204" pitchFamily="34" charset="0"/>
              </a:rPr>
              <a:t>120</a:t>
            </a:r>
            <a:endParaRPr lang="ko-KR" altLang="en-US" sz="1100" b="1" spc="-150" dirty="0">
              <a:solidFill>
                <a:prstClr val="white"/>
              </a:solidFill>
              <a:latin typeface="Arial" panose="020B0604020202020204" pitchFamily="34" charset="0"/>
              <a:cs typeface="Arial" panose="020B0604020202020204" pitchFamily="34" charset="0"/>
            </a:endParaRPr>
          </a:p>
        </p:txBody>
      </p:sp>
      <p:sp>
        <p:nvSpPr>
          <p:cNvPr id="126" name="타원 125"/>
          <p:cNvSpPr/>
          <p:nvPr/>
        </p:nvSpPr>
        <p:spPr bwMode="auto">
          <a:xfrm>
            <a:off x="5863313" y="5028471"/>
            <a:ext cx="257912" cy="277253"/>
          </a:xfrm>
          <a:prstGeom prst="ellipse">
            <a:avLst/>
          </a:prstGeom>
          <a:noFill/>
          <a:ln w="12700">
            <a:solidFill>
              <a:schemeClr val="tx1"/>
            </a:solidFill>
            <a:prstDash val="solid"/>
            <a:miter lim="800000"/>
            <a:headEnd/>
            <a:tailEnd/>
          </a:ln>
        </p:spPr>
        <p:txBody>
          <a:bodyPr rtlCol="0" anchor="ctr"/>
          <a:lstStyle/>
          <a:p>
            <a:pPr algn="ctr"/>
            <a:endParaRPr lang="ko-KR" altLang="en-US"/>
          </a:p>
        </p:txBody>
      </p:sp>
      <p:sp>
        <p:nvSpPr>
          <p:cNvPr id="127" name="타원 126"/>
          <p:cNvSpPr/>
          <p:nvPr/>
        </p:nvSpPr>
        <p:spPr bwMode="auto">
          <a:xfrm>
            <a:off x="6992053" y="5028470"/>
            <a:ext cx="257912" cy="277253"/>
          </a:xfrm>
          <a:prstGeom prst="ellipse">
            <a:avLst/>
          </a:prstGeom>
          <a:noFill/>
          <a:ln w="12700">
            <a:solidFill>
              <a:schemeClr val="tx1"/>
            </a:solidFill>
            <a:prstDash val="solid"/>
            <a:miter lim="800000"/>
            <a:headEnd/>
            <a:tailEnd/>
          </a:ln>
        </p:spPr>
        <p:txBody>
          <a:bodyPr rtlCol="0" anchor="ctr"/>
          <a:lstStyle/>
          <a:p>
            <a:pPr algn="ctr"/>
            <a:endParaRPr lang="ko-KR" altLang="en-US"/>
          </a:p>
        </p:txBody>
      </p:sp>
      <p:sp>
        <p:nvSpPr>
          <p:cNvPr id="128" name="타원 127"/>
          <p:cNvSpPr/>
          <p:nvPr/>
        </p:nvSpPr>
        <p:spPr bwMode="auto">
          <a:xfrm>
            <a:off x="7940987" y="5028469"/>
            <a:ext cx="257912" cy="277253"/>
          </a:xfrm>
          <a:prstGeom prst="ellipse">
            <a:avLst/>
          </a:prstGeom>
          <a:noFill/>
          <a:ln w="12700">
            <a:solidFill>
              <a:schemeClr val="tx1"/>
            </a:solidFill>
            <a:prstDash val="solid"/>
            <a:miter lim="800000"/>
            <a:headEnd/>
            <a:tailEnd/>
          </a:ln>
        </p:spPr>
        <p:txBody>
          <a:bodyPr rtlCol="0" anchor="ctr"/>
          <a:lstStyle/>
          <a:p>
            <a:pPr algn="ctr"/>
            <a:endParaRPr lang="ko-KR" altLang="en-US"/>
          </a:p>
        </p:txBody>
      </p:sp>
      <p:sp>
        <p:nvSpPr>
          <p:cNvPr id="129" name="타원 128"/>
          <p:cNvSpPr/>
          <p:nvPr/>
        </p:nvSpPr>
        <p:spPr bwMode="auto">
          <a:xfrm>
            <a:off x="8951103" y="5028468"/>
            <a:ext cx="257912" cy="277253"/>
          </a:xfrm>
          <a:prstGeom prst="ellipse">
            <a:avLst/>
          </a:prstGeom>
          <a:noFill/>
          <a:ln w="12700">
            <a:solidFill>
              <a:schemeClr val="tx1"/>
            </a:solidFill>
            <a:prstDash val="solid"/>
            <a:miter lim="800000"/>
            <a:headEnd/>
            <a:tailEnd/>
          </a:ln>
        </p:spPr>
        <p:txBody>
          <a:bodyPr rtlCol="0" anchor="ctr"/>
          <a:lstStyle/>
          <a:p>
            <a:pPr algn="ctr"/>
            <a:endParaRPr lang="ko-KR" altLang="en-US"/>
          </a:p>
        </p:txBody>
      </p:sp>
      <p:sp>
        <p:nvSpPr>
          <p:cNvPr id="134" name="타원 133"/>
          <p:cNvSpPr/>
          <p:nvPr/>
        </p:nvSpPr>
        <p:spPr bwMode="auto">
          <a:xfrm>
            <a:off x="4868345" y="3475185"/>
            <a:ext cx="310713" cy="334013"/>
          </a:xfrm>
          <a:prstGeom prst="ellipse">
            <a:avLst/>
          </a:prstGeom>
          <a:solidFill>
            <a:srgbClr val="9B0D41"/>
          </a:solidFill>
          <a:ln w="12700">
            <a:noFill/>
            <a:prstDash val="solid"/>
            <a:miter lim="800000"/>
            <a:headEnd/>
            <a:tailEnd/>
          </a:ln>
        </p:spPr>
        <p:txBody>
          <a:bodyPr rtlCol="0" anchor="ctr"/>
          <a:lstStyle/>
          <a:p>
            <a:pPr algn="ctr"/>
            <a:endParaRPr lang="ko-KR" altLang="en-US"/>
          </a:p>
        </p:txBody>
      </p:sp>
      <p:sp>
        <p:nvSpPr>
          <p:cNvPr id="135" name="타원 134"/>
          <p:cNvSpPr/>
          <p:nvPr/>
        </p:nvSpPr>
        <p:spPr bwMode="auto">
          <a:xfrm>
            <a:off x="3849442" y="3475186"/>
            <a:ext cx="310713" cy="334013"/>
          </a:xfrm>
          <a:prstGeom prst="ellipse">
            <a:avLst/>
          </a:prstGeom>
          <a:solidFill>
            <a:srgbClr val="9B0D41"/>
          </a:solidFill>
          <a:ln w="12700">
            <a:noFill/>
            <a:prstDash val="solid"/>
            <a:miter lim="800000"/>
            <a:headEnd/>
            <a:tailEnd/>
          </a:ln>
        </p:spPr>
        <p:txBody>
          <a:bodyPr rtlCol="0" anchor="ctr"/>
          <a:lstStyle/>
          <a:p>
            <a:pPr algn="ctr"/>
            <a:endParaRPr lang="ko-KR" altLang="en-US"/>
          </a:p>
        </p:txBody>
      </p:sp>
      <p:sp>
        <p:nvSpPr>
          <p:cNvPr id="17" name="직사각형 16"/>
          <p:cNvSpPr/>
          <p:nvPr/>
        </p:nvSpPr>
        <p:spPr>
          <a:xfrm>
            <a:off x="631260" y="6050361"/>
            <a:ext cx="1399742" cy="307777"/>
          </a:xfrm>
          <a:prstGeom prst="rect">
            <a:avLst/>
          </a:prstGeom>
        </p:spPr>
        <p:txBody>
          <a:bodyPr wrap="none">
            <a:spAutoFit/>
          </a:bodyPr>
          <a:lstStyle/>
          <a:p>
            <a:r>
              <a:rPr lang="en-US" altLang="ko-KR" sz="1400" dirty="0">
                <a:latin typeface="Arial" panose="020B0604020202020204" pitchFamily="34" charset="0"/>
                <a:cs typeface="Arial" panose="020B0604020202020204" pitchFamily="34" charset="0"/>
              </a:rPr>
              <a:t>Existing line-up</a:t>
            </a:r>
          </a:p>
        </p:txBody>
      </p:sp>
      <p:sp>
        <p:nvSpPr>
          <p:cNvPr id="86" name="직사각형 85"/>
          <p:cNvSpPr/>
          <p:nvPr/>
        </p:nvSpPr>
        <p:spPr>
          <a:xfrm>
            <a:off x="631260" y="6409691"/>
            <a:ext cx="1071127" cy="307777"/>
          </a:xfrm>
          <a:prstGeom prst="rect">
            <a:avLst/>
          </a:prstGeom>
        </p:spPr>
        <p:txBody>
          <a:bodyPr wrap="none">
            <a:spAutoFit/>
          </a:bodyPr>
          <a:lstStyle/>
          <a:p>
            <a:r>
              <a:rPr lang="en-US" altLang="ko-KR" sz="1400" dirty="0">
                <a:latin typeface="Arial" panose="020B0604020202020204" pitchFamily="34" charset="0"/>
                <a:cs typeface="Arial" panose="020B0604020202020204" pitchFamily="34" charset="0"/>
              </a:rPr>
              <a:t>Residential</a:t>
            </a:r>
          </a:p>
        </p:txBody>
      </p:sp>
      <p:sp>
        <p:nvSpPr>
          <p:cNvPr id="87" name="타원 86"/>
          <p:cNvSpPr/>
          <p:nvPr/>
        </p:nvSpPr>
        <p:spPr bwMode="auto">
          <a:xfrm>
            <a:off x="370075" y="6114602"/>
            <a:ext cx="179294" cy="179294"/>
          </a:xfrm>
          <a:prstGeom prst="ellipse">
            <a:avLst/>
          </a:prstGeom>
          <a:noFill/>
          <a:ln w="12700">
            <a:solidFill>
              <a:schemeClr val="tx1"/>
            </a:solidFill>
            <a:prstDash val="solid"/>
            <a:miter lim="800000"/>
            <a:headEnd/>
            <a:tailEnd/>
          </a:ln>
        </p:spPr>
        <p:txBody>
          <a:bodyPr rtlCol="0" anchor="ctr"/>
          <a:lstStyle/>
          <a:p>
            <a:pPr algn="ctr"/>
            <a:endParaRPr lang="ko-KR" altLang="en-US"/>
          </a:p>
        </p:txBody>
      </p:sp>
      <p:sp>
        <p:nvSpPr>
          <p:cNvPr id="88" name="타원 87"/>
          <p:cNvSpPr/>
          <p:nvPr/>
        </p:nvSpPr>
        <p:spPr bwMode="auto">
          <a:xfrm>
            <a:off x="351722" y="6455579"/>
            <a:ext cx="216000" cy="216000"/>
          </a:xfrm>
          <a:prstGeom prst="ellipse">
            <a:avLst/>
          </a:prstGeom>
          <a:solidFill>
            <a:srgbClr val="9B0D41"/>
          </a:solidFill>
          <a:ln w="12700">
            <a:noFill/>
            <a:prstDash val="solid"/>
            <a:miter lim="800000"/>
            <a:headEnd/>
            <a:tailEnd/>
          </a:ln>
        </p:spPr>
        <p:txBody>
          <a:bodyPr rtlCol="0" anchor="ctr"/>
          <a:lstStyle/>
          <a:p>
            <a:pPr algn="ctr"/>
            <a:endParaRPr lang="ko-KR" altLang="en-US"/>
          </a:p>
        </p:txBody>
      </p:sp>
      <p:sp>
        <p:nvSpPr>
          <p:cNvPr id="3" name="Rectangle 2">
            <a:extLst>
              <a:ext uri="{FF2B5EF4-FFF2-40B4-BE49-F238E27FC236}">
                <a16:creationId xmlns:a16="http://schemas.microsoft.com/office/drawing/2014/main" id="{D26DBCD0-39E1-998D-380C-F01D2A66E33E}"/>
              </a:ext>
            </a:extLst>
          </p:cNvPr>
          <p:cNvSpPr/>
          <p:nvPr/>
        </p:nvSpPr>
        <p:spPr bwMode="auto">
          <a:xfrm>
            <a:off x="1750252" y="2704866"/>
            <a:ext cx="3753964" cy="1618053"/>
          </a:xfrm>
          <a:prstGeom prst="rect">
            <a:avLst/>
          </a:prstGeom>
          <a:noFill/>
          <a:ln w="57150">
            <a:solidFill>
              <a:srgbClr val="FF0000"/>
            </a:solidFill>
            <a:prstDash val="solid"/>
            <a:miter lim="800000"/>
            <a:headEnd/>
            <a:tailEnd/>
          </a:ln>
        </p:spPr>
        <p:txBody>
          <a:bodyPr rtlCol="0" anchor="ctr"/>
          <a:lstStyle/>
          <a:p>
            <a:pPr algn="ctr"/>
            <a:endParaRPr lang="en-US"/>
          </a:p>
        </p:txBody>
      </p:sp>
    </p:spTree>
    <p:extLst>
      <p:ext uri="{BB962C8B-B14F-4D97-AF65-F5344CB8AC3E}">
        <p14:creationId xmlns:p14="http://schemas.microsoft.com/office/powerpoint/2010/main" val="2058348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ltLang="ko-KR" dirty="0"/>
              <a:t>Clean Air</a:t>
            </a:r>
          </a:p>
        </p:txBody>
      </p:sp>
      <p:sp>
        <p:nvSpPr>
          <p:cNvPr id="3" name="Text Placeholder 2"/>
          <p:cNvSpPr>
            <a:spLocks noGrp="1"/>
          </p:cNvSpPr>
          <p:nvPr>
            <p:ph type="body" sz="quarter" idx="13"/>
          </p:nvPr>
        </p:nvSpPr>
        <p:spPr>
          <a:xfrm>
            <a:off x="4868537" y="4213498"/>
            <a:ext cx="4872392" cy="1492716"/>
          </a:xfrm>
        </p:spPr>
        <p:txBody>
          <a:bodyPr/>
          <a:lstStyle/>
          <a:p>
            <a:r>
              <a:rPr lang="en-US" altLang="ko-KR" dirty="0"/>
              <a:t>Reliable Fine Dust Filtering </a:t>
            </a:r>
          </a:p>
          <a:p>
            <a:r>
              <a:rPr lang="en-US" altLang="ko-KR" dirty="0"/>
              <a:t>Bacterial/Mold resistant material Air Passage </a:t>
            </a:r>
          </a:p>
          <a:p>
            <a:r>
              <a:rPr lang="en-US" altLang="ko-KR" dirty="0"/>
              <a:t>Dual Fine Dust PM1.0 Sensor Monitoring</a:t>
            </a:r>
          </a:p>
          <a:p>
            <a:r>
              <a:rPr lang="en-US" altLang="ko-KR" dirty="0"/>
              <a:t>Indoor CO2 Monitoring</a:t>
            </a:r>
          </a:p>
        </p:txBody>
      </p:sp>
    </p:spTree>
    <p:extLst>
      <p:ext uri="{BB962C8B-B14F-4D97-AF65-F5344CB8AC3E}">
        <p14:creationId xmlns:p14="http://schemas.microsoft.com/office/powerpoint/2010/main" val="10766630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MERV13 Filter and Prefilters </a:t>
            </a:r>
          </a:p>
        </p:txBody>
      </p:sp>
      <p:sp>
        <p:nvSpPr>
          <p:cNvPr id="6" name="텍스트 개체 틀 5"/>
          <p:cNvSpPr>
            <a:spLocks noGrp="1"/>
          </p:cNvSpPr>
          <p:nvPr>
            <p:ph type="body" sz="quarter" idx="20"/>
          </p:nvPr>
        </p:nvSpPr>
        <p:spPr/>
        <p:txBody>
          <a:bodyPr/>
          <a:lstStyle/>
          <a:p>
            <a:r>
              <a:rPr lang="en-US" altLang="ko-KR" dirty="0"/>
              <a:t>Clean Air</a:t>
            </a:r>
          </a:p>
        </p:txBody>
      </p:sp>
      <p:sp>
        <p:nvSpPr>
          <p:cNvPr id="7" name="텍스트 개체 틀 6"/>
          <p:cNvSpPr>
            <a:spLocks noGrp="1"/>
          </p:cNvSpPr>
          <p:nvPr>
            <p:ph type="body" sz="quarter" idx="21"/>
          </p:nvPr>
        </p:nvSpPr>
        <p:spPr>
          <a:xfrm>
            <a:off x="278422" y="748127"/>
            <a:ext cx="9342438" cy="787908"/>
          </a:xfrm>
        </p:spPr>
        <p:txBody>
          <a:bodyPr/>
          <a:lstStyle/>
          <a:p>
            <a:pPr marL="285750" indent="-285750">
              <a:buFont typeface="Arial" panose="020B0604020202020204" pitchFamily="34" charset="0"/>
              <a:buChar char="•"/>
            </a:pPr>
            <a:r>
              <a:rPr lang="en-US" altLang="ko-KR" dirty="0"/>
              <a:t>MERV13 filter that removes fine dust with a particle size of 0.3㎛. </a:t>
            </a:r>
          </a:p>
          <a:p>
            <a:pPr marL="285750" indent="-285750">
              <a:buFont typeface="Arial" panose="020B0604020202020204" pitchFamily="34" charset="0"/>
              <a:buChar char="•"/>
            </a:pPr>
            <a:r>
              <a:rPr lang="en-US" altLang="ko-KR" dirty="0"/>
              <a:t>The pre-filters at both ends of the total heat exchanger filter out large dust particles and reduce the required maintenance of the total heat exchanger </a:t>
            </a:r>
          </a:p>
        </p:txBody>
      </p:sp>
      <p:pic>
        <p:nvPicPr>
          <p:cNvPr id="165" name="그림 164">
            <a:extLst>
              <a:ext uri="{FF2B5EF4-FFF2-40B4-BE49-F238E27FC236}">
                <a16:creationId xmlns:a16="http://schemas.microsoft.com/office/drawing/2014/main" id="{267CC2F8-D6AF-4C9D-ADD5-7CA1B546E64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03617" y="3195783"/>
            <a:ext cx="1669167" cy="1669167"/>
          </a:xfrm>
          <a:prstGeom prst="rect">
            <a:avLst/>
          </a:prstGeom>
        </p:spPr>
      </p:pic>
      <p:grpSp>
        <p:nvGrpSpPr>
          <p:cNvPr id="3" name="그룹 2"/>
          <p:cNvGrpSpPr/>
          <p:nvPr/>
        </p:nvGrpSpPr>
        <p:grpSpPr>
          <a:xfrm>
            <a:off x="6605089" y="3936869"/>
            <a:ext cx="1701709" cy="1648452"/>
            <a:chOff x="7277486" y="2624557"/>
            <a:chExt cx="1933382" cy="1872874"/>
          </a:xfrm>
        </p:grpSpPr>
        <p:pic>
          <p:nvPicPr>
            <p:cNvPr id="166" name="그림 165" descr="비어있는, 바둑판식, 일이(가) 표시된 사진&#10;&#10;자동 생성된 설명">
              <a:extLst>
                <a:ext uri="{FF2B5EF4-FFF2-40B4-BE49-F238E27FC236}">
                  <a16:creationId xmlns:a16="http://schemas.microsoft.com/office/drawing/2014/main" id="{1A82B65F-01FE-4291-86EB-DF7ED006F9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67868" y="2624557"/>
              <a:ext cx="1143000" cy="1533032"/>
            </a:xfrm>
            <a:prstGeom prst="rect">
              <a:avLst/>
            </a:prstGeom>
          </p:spPr>
        </p:pic>
        <p:pic>
          <p:nvPicPr>
            <p:cNvPr id="167" name="그림 166" descr="비어있는, 바둑판식, 일이(가) 표시된 사진&#10;&#10;자동 생성된 설명">
              <a:extLst>
                <a:ext uri="{FF2B5EF4-FFF2-40B4-BE49-F238E27FC236}">
                  <a16:creationId xmlns:a16="http://schemas.microsoft.com/office/drawing/2014/main" id="{5640B122-3FCD-41E5-ADB4-EFD5EF3AF0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77486" y="2837165"/>
              <a:ext cx="1237864" cy="1660266"/>
            </a:xfrm>
            <a:prstGeom prst="rect">
              <a:avLst/>
            </a:prstGeom>
          </p:spPr>
        </p:pic>
      </p:grpSp>
      <p:grpSp>
        <p:nvGrpSpPr>
          <p:cNvPr id="187" name="그룹 186"/>
          <p:cNvGrpSpPr/>
          <p:nvPr/>
        </p:nvGrpSpPr>
        <p:grpSpPr>
          <a:xfrm>
            <a:off x="196225" y="2213392"/>
            <a:ext cx="2917231" cy="823229"/>
            <a:chOff x="504731" y="5150057"/>
            <a:chExt cx="3307545" cy="933375"/>
          </a:xfrm>
        </p:grpSpPr>
        <p:sp>
          <p:nvSpPr>
            <p:cNvPr id="193" name="TextBox 2"/>
            <p:cNvSpPr txBox="1"/>
            <p:nvPr/>
          </p:nvSpPr>
          <p:spPr>
            <a:xfrm flipH="1">
              <a:off x="504731" y="5559997"/>
              <a:ext cx="3307545" cy="523435"/>
            </a:xfrm>
            <a:prstGeom prst="rect">
              <a:avLst/>
            </a:prstGeom>
            <a:noFill/>
          </p:spPr>
          <p:txBody>
            <a:bodyPr wrap="square" rtlCol="0" anchor="ctr">
              <a:spAutoFit/>
            </a:bodyPr>
            <a:lstStyle/>
            <a:p>
              <a:pPr>
                <a:defRPr/>
              </a:pPr>
              <a:r>
                <a:rPr lang="en-US" altLang="ko-KR" sz="1200" dirty="0">
                  <a:ln>
                    <a:solidFill>
                      <a:srgbClr val="4472C4">
                        <a:alpha val="0"/>
                      </a:srgbClr>
                    </a:solidFill>
                  </a:ln>
                  <a:solidFill>
                    <a:prstClr val="black">
                      <a:lumMod val="85000"/>
                      <a:lumOff val="15000"/>
                    </a:prstClr>
                  </a:solidFill>
                  <a:latin typeface="Arial" panose="020B0604020202020204" pitchFamily="34" charset="0"/>
                  <a:ea typeface="LG스마트체 SemiBold" pitchFamily="50" charset="-127"/>
                  <a:cs typeface="Arial" panose="020B0604020202020204" pitchFamily="34" charset="0"/>
                </a:rPr>
                <a:t>ePM1 95% dust filter filters fine dust with a particle size of 0.3㎛.*</a:t>
              </a:r>
            </a:p>
          </p:txBody>
        </p:sp>
        <p:sp>
          <p:nvSpPr>
            <p:cNvPr id="189" name="모서리가 둥근 직사각형 151"/>
            <p:cNvSpPr/>
            <p:nvPr/>
          </p:nvSpPr>
          <p:spPr>
            <a:xfrm>
              <a:off x="523481" y="5159717"/>
              <a:ext cx="410224" cy="242241"/>
            </a:xfrm>
            <a:prstGeom prst="round2Same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ko-KR" altLang="en-US" sz="1588">
                <a:solidFill>
                  <a:prstClr val="white"/>
                </a:solidFill>
                <a:latin typeface="Arial" panose="020B0604020202020204" pitchFamily="34" charset="0"/>
                <a:ea typeface="LG스마트체 SemiBold"/>
                <a:cs typeface="Arial" panose="020B0604020202020204" pitchFamily="34" charset="0"/>
              </a:endParaRPr>
            </a:p>
          </p:txBody>
        </p:sp>
        <p:sp>
          <p:nvSpPr>
            <p:cNvPr id="190" name="TextBox 2"/>
            <p:cNvSpPr txBox="1"/>
            <p:nvPr/>
          </p:nvSpPr>
          <p:spPr>
            <a:xfrm flipH="1">
              <a:off x="909226" y="5150057"/>
              <a:ext cx="1572411" cy="348957"/>
            </a:xfrm>
            <a:prstGeom prst="rect">
              <a:avLst/>
            </a:prstGeom>
            <a:noFill/>
          </p:spPr>
          <p:txBody>
            <a:bodyPr wrap="none" rtlCol="0" anchor="ctr">
              <a:spAutoFit/>
            </a:bodyPr>
            <a:lstStyle/>
            <a:p>
              <a:pPr>
                <a:defRPr/>
              </a:pPr>
              <a:r>
                <a:rPr lang="en-US" altLang="ko-KR" sz="1400" b="1"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MERV13 Filter</a:t>
              </a:r>
            </a:p>
          </p:txBody>
        </p:sp>
        <p:cxnSp>
          <p:nvCxnSpPr>
            <p:cNvPr id="195" name="직선 연결선 194"/>
            <p:cNvCxnSpPr/>
            <p:nvPr/>
          </p:nvCxnSpPr>
          <p:spPr>
            <a:xfrm flipH="1">
              <a:off x="557213" y="5477523"/>
              <a:ext cx="345662"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92" name="TextBox 2"/>
            <p:cNvSpPr txBox="1"/>
            <p:nvPr/>
          </p:nvSpPr>
          <p:spPr>
            <a:xfrm flipH="1">
              <a:off x="574535" y="5161354"/>
              <a:ext cx="308710" cy="246160"/>
            </a:xfrm>
            <a:prstGeom prst="rect">
              <a:avLst/>
            </a:prstGeom>
            <a:noFill/>
          </p:spPr>
          <p:txBody>
            <a:bodyPr wrap="square" lIns="0" tIns="0" rIns="0" bIns="0" rtlCol="0" anchor="ctr">
              <a:spAutoFit/>
            </a:bodyPr>
            <a:lstStyle>
              <a:defPPr>
                <a:defRPr lang="en-US"/>
              </a:defPPr>
              <a:lvl1pPr algn="ctr">
                <a:defRPr sz="1411">
                  <a:ln>
                    <a:solidFill>
                      <a:schemeClr val="accent1">
                        <a:alpha val="0"/>
                      </a:schemeClr>
                    </a:solidFill>
                  </a:ln>
                  <a:solidFill>
                    <a:schemeClr val="bg1"/>
                  </a:solidFill>
                  <a:latin typeface="LG스마트체 SemiBold" pitchFamily="50" charset="-127"/>
                  <a:ea typeface="LG스마트체 SemiBold" pitchFamily="50" charset="-127"/>
                </a:defRPr>
              </a:lvl1pPr>
            </a:lstStyle>
            <a:p>
              <a:pPr>
                <a:defRPr/>
              </a:pPr>
              <a:r>
                <a:rPr lang="en-US" altLang="ko-KR" sz="1400" dirty="0">
                  <a:ln>
                    <a:solidFill>
                      <a:srgbClr val="4472C4">
                        <a:alpha val="0"/>
                      </a:srgbClr>
                    </a:solidFill>
                  </a:ln>
                  <a:solidFill>
                    <a:prstClr val="white"/>
                  </a:solidFill>
                  <a:latin typeface="Arial" panose="020B0604020202020204" pitchFamily="34" charset="0"/>
                  <a:cs typeface="Arial" panose="020B0604020202020204" pitchFamily="34" charset="0"/>
                </a:rPr>
                <a:t>01</a:t>
              </a:r>
              <a:endParaRPr lang="ko-KR" altLang="en-US" sz="1400" dirty="0">
                <a:ln>
                  <a:solidFill>
                    <a:srgbClr val="4472C4">
                      <a:alpha val="0"/>
                    </a:srgbClr>
                  </a:solidFill>
                </a:ln>
                <a:solidFill>
                  <a:prstClr val="white"/>
                </a:solidFill>
                <a:latin typeface="Arial" panose="020B0604020202020204" pitchFamily="34" charset="0"/>
                <a:cs typeface="Arial" panose="020B0604020202020204" pitchFamily="34" charset="0"/>
              </a:endParaRPr>
            </a:p>
          </p:txBody>
        </p:sp>
      </p:grpSp>
      <p:grpSp>
        <p:nvGrpSpPr>
          <p:cNvPr id="5" name="그룹 4"/>
          <p:cNvGrpSpPr/>
          <p:nvPr/>
        </p:nvGrpSpPr>
        <p:grpSpPr>
          <a:xfrm>
            <a:off x="2608460" y="3263472"/>
            <a:ext cx="6746296" cy="3487016"/>
            <a:chOff x="2969043" y="2017313"/>
            <a:chExt cx="7676688" cy="3967916"/>
          </a:xfrm>
        </p:grpSpPr>
        <p:sp>
          <p:nvSpPr>
            <p:cNvPr id="149" name="타원 148">
              <a:extLst>
                <a:ext uri="{FF2B5EF4-FFF2-40B4-BE49-F238E27FC236}">
                  <a16:creationId xmlns:a16="http://schemas.microsoft.com/office/drawing/2014/main" id="{A66552E0-85FB-4E3F-8BCB-876CE0A766E0}"/>
                </a:ext>
              </a:extLst>
            </p:cNvPr>
            <p:cNvSpPr/>
            <p:nvPr/>
          </p:nvSpPr>
          <p:spPr>
            <a:xfrm rot="18000000">
              <a:off x="2969042" y="2017314"/>
              <a:ext cx="3967916" cy="3967914"/>
            </a:xfrm>
            <a:prstGeom prst="ellipse">
              <a:avLst/>
            </a:prstGeom>
            <a:noFill/>
            <a:ln w="63500" cap="flat" cmpd="sng" algn="ctr">
              <a:gradFill>
                <a:gsLst>
                  <a:gs pos="0">
                    <a:srgbClr val="21C2EA"/>
                  </a:gs>
                  <a:gs pos="100000">
                    <a:srgbClr val="01DBDB"/>
                  </a:gs>
                </a:gsLst>
                <a:lin ang="5400000" scaled="1"/>
              </a:gradFill>
              <a:prstDash val="solid"/>
              <a:miter lim="800000"/>
              <a:tailEnd type="triangle" w="lg" len="med"/>
            </a:ln>
            <a:effectLst/>
          </p:spPr>
          <p:txBody>
            <a:bodyPr rtlCol="0" anchor="ctr"/>
            <a:lstStyle/>
            <a:p>
              <a:pPr algn="ctr" defTabSz="914400">
                <a:defRPr/>
              </a:pPr>
              <a:endParaRPr lang="ko-KR" altLang="en-US" kern="0" dirty="0">
                <a:solidFill>
                  <a:prstClr val="white"/>
                </a:solidFill>
                <a:latin typeface="LG스마트체 Regular" panose="020B0600000101010101" pitchFamily="50" charset="-127"/>
                <a:ea typeface="LG스마트체 Light" panose="020B0600000101010101" pitchFamily="50" charset="-127"/>
              </a:endParaRPr>
            </a:p>
          </p:txBody>
        </p:sp>
        <p:grpSp>
          <p:nvGrpSpPr>
            <p:cNvPr id="4" name="그룹 3"/>
            <p:cNvGrpSpPr/>
            <p:nvPr/>
          </p:nvGrpSpPr>
          <p:grpSpPr>
            <a:xfrm>
              <a:off x="3026985" y="2072522"/>
              <a:ext cx="7618746" cy="3840197"/>
              <a:chOff x="3026985" y="2072522"/>
              <a:chExt cx="7618746" cy="3840197"/>
            </a:xfrm>
          </p:grpSpPr>
          <p:pic>
            <p:nvPicPr>
              <p:cNvPr id="9" name="그림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26985" y="2072522"/>
                <a:ext cx="3829041" cy="3840197"/>
              </a:xfrm>
              <a:prstGeom prst="ellipse">
                <a:avLst/>
              </a:prstGeom>
            </p:spPr>
          </p:pic>
          <p:sp>
            <p:nvSpPr>
              <p:cNvPr id="150" name="타원 149">
                <a:extLst>
                  <a:ext uri="{FF2B5EF4-FFF2-40B4-BE49-F238E27FC236}">
                    <a16:creationId xmlns:a16="http://schemas.microsoft.com/office/drawing/2014/main" id="{B35B0218-A4C6-4DCA-ACE7-4377C9B43ED0}"/>
                  </a:ext>
                </a:extLst>
              </p:cNvPr>
              <p:cNvSpPr/>
              <p:nvPr/>
            </p:nvSpPr>
            <p:spPr>
              <a:xfrm>
                <a:off x="4215881" y="5294288"/>
                <a:ext cx="211964" cy="211964"/>
              </a:xfrm>
              <a:prstGeom prst="ellipse">
                <a:avLst/>
              </a:prstGeom>
              <a:solidFill>
                <a:sysClr val="windowText" lastClr="000000"/>
              </a:solidFill>
              <a:ln w="12700" cap="flat" cmpd="sng" algn="ctr">
                <a:noFill/>
                <a:prstDash val="solid"/>
                <a:miter lim="800000"/>
              </a:ln>
              <a:effectLst/>
            </p:spPr>
            <p:txBody>
              <a:bodyPr rtlCol="0" anchor="ct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151" name="타원 150">
                <a:extLst>
                  <a:ext uri="{FF2B5EF4-FFF2-40B4-BE49-F238E27FC236}">
                    <a16:creationId xmlns:a16="http://schemas.microsoft.com/office/drawing/2014/main" id="{296EB3B6-A3E3-4CAB-8067-69A0F62DACD5}"/>
                  </a:ext>
                </a:extLst>
              </p:cNvPr>
              <p:cNvSpPr/>
              <p:nvPr/>
            </p:nvSpPr>
            <p:spPr>
              <a:xfrm>
                <a:off x="3848900" y="4460208"/>
                <a:ext cx="194979" cy="194979"/>
              </a:xfrm>
              <a:prstGeom prst="ellipse">
                <a:avLst/>
              </a:prstGeom>
              <a:solidFill>
                <a:sysClr val="windowText" lastClr="000000"/>
              </a:solidFill>
              <a:ln w="12700" cap="flat" cmpd="sng" algn="ctr">
                <a:noFill/>
                <a:prstDash val="solid"/>
                <a:miter lim="800000"/>
              </a:ln>
              <a:effectLst/>
            </p:spPr>
            <p:txBody>
              <a:bodyPr rtlCol="0" anchor="ct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152" name="타원 151">
                <a:extLst>
                  <a:ext uri="{FF2B5EF4-FFF2-40B4-BE49-F238E27FC236}">
                    <a16:creationId xmlns:a16="http://schemas.microsoft.com/office/drawing/2014/main" id="{29DA4638-1E52-4199-A739-B17CEDE896C7}"/>
                  </a:ext>
                </a:extLst>
              </p:cNvPr>
              <p:cNvSpPr/>
              <p:nvPr/>
            </p:nvSpPr>
            <p:spPr>
              <a:xfrm>
                <a:off x="4927221" y="5102100"/>
                <a:ext cx="192188" cy="192188"/>
              </a:xfrm>
              <a:prstGeom prst="ellipse">
                <a:avLst/>
              </a:prstGeom>
              <a:solidFill>
                <a:sysClr val="windowText" lastClr="000000"/>
              </a:solidFill>
              <a:ln w="12700" cap="flat" cmpd="sng" algn="ctr">
                <a:noFill/>
                <a:prstDash val="solid"/>
                <a:miter lim="800000"/>
              </a:ln>
              <a:effectLst/>
            </p:spPr>
            <p:txBody>
              <a:bodyPr rtlCol="0" anchor="ct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grpSp>
            <p:nvGrpSpPr>
              <p:cNvPr id="154" name="그룹 153">
                <a:extLst>
                  <a:ext uri="{FF2B5EF4-FFF2-40B4-BE49-F238E27FC236}">
                    <a16:creationId xmlns:a16="http://schemas.microsoft.com/office/drawing/2014/main" id="{47A413AE-1FEF-42D1-85D9-BF9B943F4CBF}"/>
                  </a:ext>
                </a:extLst>
              </p:cNvPr>
              <p:cNvGrpSpPr/>
              <p:nvPr/>
            </p:nvGrpSpPr>
            <p:grpSpPr>
              <a:xfrm flipV="1">
                <a:off x="4324872" y="4896416"/>
                <a:ext cx="6320859" cy="453742"/>
                <a:chOff x="4352731" y="4803557"/>
                <a:chExt cx="6264598" cy="733643"/>
              </a:xfrm>
            </p:grpSpPr>
            <p:sp>
              <p:nvSpPr>
                <p:cNvPr id="155" name="직사각형 10">
                  <a:extLst>
                    <a:ext uri="{FF2B5EF4-FFF2-40B4-BE49-F238E27FC236}">
                      <a16:creationId xmlns:a16="http://schemas.microsoft.com/office/drawing/2014/main" id="{745797CC-8EF9-464C-9FDA-F9DB4837FE47}"/>
                    </a:ext>
                  </a:extLst>
                </p:cNvPr>
                <p:cNvSpPr/>
                <p:nvPr/>
              </p:nvSpPr>
              <p:spPr>
                <a:xfrm rot="10800000" flipH="1">
                  <a:off x="4352731" y="4803557"/>
                  <a:ext cx="6264598" cy="733643"/>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9525" cap="flat" cmpd="sng" algn="ctr">
                  <a:solidFill>
                    <a:sysClr val="windowText" lastClr="000000"/>
                  </a:solidFill>
                  <a:prstDash val="solid"/>
                  <a:miter lim="800000"/>
                </a:ln>
                <a:effectLst/>
              </p:spPr>
              <p:txBody>
                <a:bodyPr rtlCol="0" anchor="ctr"/>
                <a:lstStyle/>
                <a:p>
                  <a:pPr algn="ctr" defTabSz="914400">
                    <a:defRPr/>
                  </a:pPr>
                  <a:endParaRPr lang="ko-KR" altLang="en-US" kern="0" dirty="0">
                    <a:solidFill>
                      <a:prstClr val="white"/>
                    </a:solidFill>
                    <a:latin typeface="LG스마트체 Regular" panose="020B0600000101010101" pitchFamily="50" charset="-127"/>
                    <a:ea typeface="LG스마트체 Light" panose="020B0600000101010101" pitchFamily="50" charset="-127"/>
                  </a:endParaRPr>
                </a:p>
              </p:txBody>
            </p:sp>
            <p:cxnSp>
              <p:nvCxnSpPr>
                <p:cNvPr id="156" name="직선 연결선 155">
                  <a:extLst>
                    <a:ext uri="{FF2B5EF4-FFF2-40B4-BE49-F238E27FC236}">
                      <a16:creationId xmlns:a16="http://schemas.microsoft.com/office/drawing/2014/main" id="{3E1854D2-7FC8-483B-A8E5-3FB7FB793782}"/>
                    </a:ext>
                  </a:extLst>
                </p:cNvPr>
                <p:cNvCxnSpPr>
                  <a:cxnSpLocks/>
                </p:cNvCxnSpPr>
                <p:nvPr/>
              </p:nvCxnSpPr>
              <p:spPr>
                <a:xfrm flipV="1">
                  <a:off x="5044957" y="5042036"/>
                  <a:ext cx="0" cy="495164"/>
                </a:xfrm>
                <a:prstGeom prst="line">
                  <a:avLst/>
                </a:prstGeom>
                <a:noFill/>
                <a:ln w="9525" cap="flat" cmpd="sng" algn="ctr">
                  <a:solidFill>
                    <a:sysClr val="windowText" lastClr="000000"/>
                  </a:solidFill>
                  <a:prstDash val="solid"/>
                  <a:miter lim="800000"/>
                </a:ln>
                <a:effectLst/>
              </p:spPr>
            </p:cxnSp>
          </p:grpSp>
        </p:grpSp>
      </p:grpSp>
      <p:grpSp>
        <p:nvGrpSpPr>
          <p:cNvPr id="178" name="그룹 177"/>
          <p:cNvGrpSpPr/>
          <p:nvPr/>
        </p:nvGrpSpPr>
        <p:grpSpPr>
          <a:xfrm>
            <a:off x="5970366" y="5485816"/>
            <a:ext cx="3606914" cy="1181613"/>
            <a:chOff x="6518073" y="3605814"/>
            <a:chExt cx="4089506" cy="1339709"/>
          </a:xfrm>
        </p:grpSpPr>
        <p:sp>
          <p:nvSpPr>
            <p:cNvPr id="180" name="모서리가 둥근 직사각형 152"/>
            <p:cNvSpPr/>
            <p:nvPr/>
          </p:nvSpPr>
          <p:spPr>
            <a:xfrm>
              <a:off x="9970476" y="3661855"/>
              <a:ext cx="410224" cy="242241"/>
            </a:xfrm>
            <a:prstGeom prst="round2SameRect">
              <a:avLst/>
            </a:prstGeom>
            <a:solidFill>
              <a:sysClr val="windowText" lastClr="000000"/>
            </a:solidFill>
            <a:ln w="12700" cap="flat" cmpd="sng" algn="ctr">
              <a:noFill/>
              <a:prstDash val="solid"/>
              <a:miter lim="800000"/>
            </a:ln>
            <a:effectLst/>
          </p:spPr>
          <p:txBody>
            <a:bodyPr rtlCol="0" anchor="ctr"/>
            <a:lstStyle/>
            <a:p>
              <a:pPr algn="ctr" defTabSz="914400">
                <a:defRPr/>
              </a:pPr>
              <a:endParaRPr lang="ko-KR" altLang="en-US" sz="1588" kern="0">
                <a:solidFill>
                  <a:prstClr val="white"/>
                </a:solidFill>
                <a:latin typeface="Arial" panose="020B0604020202020204" pitchFamily="34" charset="0"/>
                <a:ea typeface="LG스마트체 SemiBold"/>
                <a:cs typeface="Arial" panose="020B0604020202020204" pitchFamily="34" charset="0"/>
              </a:endParaRPr>
            </a:p>
          </p:txBody>
        </p:sp>
        <p:sp>
          <p:nvSpPr>
            <p:cNvPr id="181" name="TextBox 2"/>
            <p:cNvSpPr txBox="1"/>
            <p:nvPr/>
          </p:nvSpPr>
          <p:spPr>
            <a:xfrm>
              <a:off x="8957853" y="3605814"/>
              <a:ext cx="1045413" cy="348956"/>
            </a:xfrm>
            <a:prstGeom prst="rect">
              <a:avLst/>
            </a:prstGeom>
            <a:noFill/>
          </p:spPr>
          <p:txBody>
            <a:bodyPr wrap="none" rtlCol="0" anchor="ctr">
              <a:spAutoFit/>
            </a:bodyPr>
            <a:lstStyle/>
            <a:p>
              <a:pPr algn="r" defTabSz="914400">
                <a:defRPr/>
              </a:pPr>
              <a:r>
                <a:rPr lang="en-US" altLang="ko-KR" sz="1400" b="1" kern="0"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Pre-filter</a:t>
              </a:r>
            </a:p>
          </p:txBody>
        </p:sp>
        <p:cxnSp>
          <p:nvCxnSpPr>
            <p:cNvPr id="186" name="직선 연결선 185"/>
            <p:cNvCxnSpPr/>
            <p:nvPr/>
          </p:nvCxnSpPr>
          <p:spPr>
            <a:xfrm>
              <a:off x="10009620" y="3955717"/>
              <a:ext cx="345660" cy="0"/>
            </a:xfrm>
            <a:prstGeom prst="line">
              <a:avLst/>
            </a:prstGeom>
            <a:noFill/>
            <a:ln w="38100" cap="flat" cmpd="sng" algn="ctr">
              <a:solidFill>
                <a:sysClr val="windowText" lastClr="000000">
                  <a:lumMod val="85000"/>
                  <a:lumOff val="15000"/>
                </a:sysClr>
              </a:solidFill>
              <a:prstDash val="solid"/>
              <a:miter lim="800000"/>
            </a:ln>
            <a:effectLst/>
          </p:spPr>
        </p:cxnSp>
        <p:sp>
          <p:nvSpPr>
            <p:cNvPr id="183" name="TextBox 2"/>
            <p:cNvSpPr txBox="1"/>
            <p:nvPr/>
          </p:nvSpPr>
          <p:spPr>
            <a:xfrm>
              <a:off x="10003233" y="3657215"/>
              <a:ext cx="344713" cy="246161"/>
            </a:xfrm>
            <a:prstGeom prst="rect">
              <a:avLst/>
            </a:prstGeom>
            <a:noFill/>
          </p:spPr>
          <p:txBody>
            <a:bodyPr wrap="square" lIns="0" tIns="0" rIns="0" bIns="0" rtlCol="0" anchor="ctr">
              <a:spAutoFit/>
            </a:bodyPr>
            <a:lstStyle>
              <a:defPPr>
                <a:defRPr lang="en-US"/>
              </a:defPPr>
              <a:lvl1pPr algn="ctr">
                <a:defRPr sz="1411">
                  <a:ln>
                    <a:solidFill>
                      <a:schemeClr val="accent1">
                        <a:alpha val="0"/>
                      </a:schemeClr>
                    </a:solidFill>
                  </a:ln>
                  <a:solidFill>
                    <a:schemeClr val="bg1"/>
                  </a:solidFill>
                  <a:latin typeface="LG스마트체 SemiBold" pitchFamily="50" charset="-127"/>
                  <a:ea typeface="LG스마트체 SemiBold" pitchFamily="50" charset="-127"/>
                </a:defRPr>
              </a:lvl1pPr>
            </a:lstStyle>
            <a:p>
              <a:pPr defTabSz="914400">
                <a:defRPr/>
              </a:pPr>
              <a:r>
                <a:rPr lang="en-US" altLang="ko-KR" kern="0" dirty="0">
                  <a:ln>
                    <a:solidFill>
                      <a:srgbClr val="4472C4">
                        <a:alpha val="0"/>
                      </a:srgbClr>
                    </a:solidFill>
                  </a:ln>
                  <a:solidFill>
                    <a:prstClr val="white"/>
                  </a:solidFill>
                  <a:latin typeface="Arial" panose="020B0604020202020204" pitchFamily="34" charset="0"/>
                  <a:cs typeface="Arial" panose="020B0604020202020204" pitchFamily="34" charset="0"/>
                </a:rPr>
                <a:t>02</a:t>
              </a:r>
              <a:endParaRPr lang="ko-KR" altLang="en-US" kern="0" dirty="0">
                <a:ln>
                  <a:solidFill>
                    <a:srgbClr val="4472C4">
                      <a:alpha val="0"/>
                    </a:srgbClr>
                  </a:solidFill>
                </a:ln>
                <a:solidFill>
                  <a:prstClr val="white"/>
                </a:solidFill>
                <a:latin typeface="Arial" panose="020B0604020202020204" pitchFamily="34" charset="0"/>
                <a:cs typeface="Arial" panose="020B0604020202020204" pitchFamily="34" charset="0"/>
              </a:endParaRPr>
            </a:p>
          </p:txBody>
        </p:sp>
        <p:sp>
          <p:nvSpPr>
            <p:cNvPr id="184" name="TextBox 2"/>
            <p:cNvSpPr txBox="1"/>
            <p:nvPr/>
          </p:nvSpPr>
          <p:spPr>
            <a:xfrm>
              <a:off x="6518073" y="4012066"/>
              <a:ext cx="4089506" cy="933457"/>
            </a:xfrm>
            <a:prstGeom prst="rect">
              <a:avLst/>
            </a:prstGeom>
            <a:noFill/>
          </p:spPr>
          <p:txBody>
            <a:bodyPr wrap="square" rtlCol="0" anchor="ctr">
              <a:spAutoFit/>
            </a:bodyPr>
            <a:lstStyle/>
            <a:p>
              <a:pPr>
                <a:lnSpc>
                  <a:spcPts val="1900"/>
                </a:lnSpc>
                <a:defRPr/>
              </a:pP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It keeps the total heat exchanger efficiency for a long time by filtering out large dust in the air coming in from the outside and air coming out of the room</a:t>
              </a:r>
            </a:p>
          </p:txBody>
        </p:sp>
      </p:grpSp>
      <p:sp>
        <p:nvSpPr>
          <p:cNvPr id="153" name="직사각형 10">
            <a:extLst>
              <a:ext uri="{FF2B5EF4-FFF2-40B4-BE49-F238E27FC236}">
                <a16:creationId xmlns:a16="http://schemas.microsoft.com/office/drawing/2014/main" id="{985FBF03-1648-42BB-A181-5BEDCD6D4739}"/>
              </a:ext>
            </a:extLst>
          </p:cNvPr>
          <p:cNvSpPr/>
          <p:nvPr/>
        </p:nvSpPr>
        <p:spPr>
          <a:xfrm flipH="1">
            <a:off x="242514" y="2491645"/>
            <a:ext cx="3205711" cy="2918649"/>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9525" cap="flat" cmpd="sng" algn="ctr">
            <a:solidFill>
              <a:sysClr val="windowText" lastClr="000000"/>
            </a:solidFill>
            <a:prstDash val="solid"/>
            <a:miter lim="800000"/>
          </a:ln>
          <a:effectLst/>
        </p:spPr>
        <p:txBody>
          <a:bodyPr rtlCol="0" anchor="ctr"/>
          <a:lstStyle/>
          <a:p>
            <a:pPr algn="ctr" defTabSz="914400">
              <a:defRPr/>
            </a:pPr>
            <a:endParaRPr lang="ko-KR" altLang="en-US" kern="0" dirty="0">
              <a:ln w="9525">
                <a:solidFill>
                  <a:prstClr val="black"/>
                </a:solidFill>
              </a:ln>
              <a:solidFill>
                <a:prstClr val="white"/>
              </a:solidFill>
              <a:latin typeface="LG스마트체 Regular" panose="020B0600000101010101" pitchFamily="50" charset="-127"/>
              <a:ea typeface="LG스마트체 Light" panose="020B0600000101010101" pitchFamily="50" charset="-127"/>
            </a:endParaRPr>
          </a:p>
        </p:txBody>
      </p:sp>
    </p:spTree>
    <p:extLst>
      <p:ext uri="{BB962C8B-B14F-4D97-AF65-F5344CB8AC3E}">
        <p14:creationId xmlns:p14="http://schemas.microsoft.com/office/powerpoint/2010/main" val="3960636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그림 45">
            <a:extLst>
              <a:ext uri="{FF2B5EF4-FFF2-40B4-BE49-F238E27FC236}">
                <a16:creationId xmlns:a16="http://schemas.microsoft.com/office/drawing/2014/main" id="{0E496CC3-02B6-4C56-839C-7EFCEA19217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162368"/>
            <a:ext cx="9906000" cy="6739851"/>
          </a:xfrm>
          <a:prstGeom prst="rect">
            <a:avLst/>
          </a:prstGeom>
        </p:spPr>
      </p:pic>
      <p:sp>
        <p:nvSpPr>
          <p:cNvPr id="2" name="텍스트 개체 틀 1"/>
          <p:cNvSpPr>
            <a:spLocks noGrp="1"/>
          </p:cNvSpPr>
          <p:nvPr>
            <p:ph type="body" sz="quarter" idx="19"/>
          </p:nvPr>
        </p:nvSpPr>
        <p:spPr/>
        <p:txBody>
          <a:bodyPr/>
          <a:lstStyle/>
          <a:p>
            <a:r>
              <a:rPr lang="en-US" altLang="ko-KR" dirty="0"/>
              <a:t>Bacterial resistant and Mold resistant Air Passage </a:t>
            </a:r>
          </a:p>
        </p:txBody>
      </p:sp>
      <p:sp>
        <p:nvSpPr>
          <p:cNvPr id="6" name="텍스트 개체 틀 5"/>
          <p:cNvSpPr>
            <a:spLocks noGrp="1"/>
          </p:cNvSpPr>
          <p:nvPr>
            <p:ph type="body" sz="quarter" idx="20"/>
          </p:nvPr>
        </p:nvSpPr>
        <p:spPr/>
        <p:txBody>
          <a:bodyPr/>
          <a:lstStyle/>
          <a:p>
            <a:r>
              <a:rPr lang="en-US" altLang="ko-KR" dirty="0"/>
              <a:t>Clean Air</a:t>
            </a:r>
          </a:p>
        </p:txBody>
      </p:sp>
      <p:sp>
        <p:nvSpPr>
          <p:cNvPr id="3" name="텍스트 개체 틀 2"/>
          <p:cNvSpPr>
            <a:spLocks noGrp="1"/>
          </p:cNvSpPr>
          <p:nvPr>
            <p:ph type="body" sz="quarter" idx="21"/>
          </p:nvPr>
        </p:nvSpPr>
        <p:spPr>
          <a:xfrm>
            <a:off x="278422" y="748127"/>
            <a:ext cx="9342438" cy="492443"/>
          </a:xfrm>
        </p:spPr>
        <p:txBody>
          <a:bodyPr/>
          <a:lstStyle/>
          <a:p>
            <a:r>
              <a:rPr lang="en-US" altLang="ko-KR" dirty="0"/>
              <a:t>The total heat exchanger and air passage(EPS) through which air passes are made of Bacterial resistant and Mold resistant material to suppress the growth of bacteria and mold.</a:t>
            </a:r>
          </a:p>
        </p:txBody>
      </p:sp>
      <p:sp>
        <p:nvSpPr>
          <p:cNvPr id="48" name="TextBox 2">
            <a:extLst>
              <a:ext uri="{FF2B5EF4-FFF2-40B4-BE49-F238E27FC236}">
                <a16:creationId xmlns:a16="http://schemas.microsoft.com/office/drawing/2014/main" id="{AC200E5A-B733-4B08-8655-B86144447E4A}"/>
              </a:ext>
            </a:extLst>
          </p:cNvPr>
          <p:cNvSpPr txBox="1"/>
          <p:nvPr/>
        </p:nvSpPr>
        <p:spPr>
          <a:xfrm>
            <a:off x="1619294" y="2331879"/>
            <a:ext cx="963725" cy="400110"/>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Pre-filte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 UV sterilization</a:t>
            </a:r>
            <a:endParaRPr kumimoji="0" lang="ko-KR" altLang="en-US"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49" name="화살표: 오른쪽 70">
            <a:extLst>
              <a:ext uri="{FF2B5EF4-FFF2-40B4-BE49-F238E27FC236}">
                <a16:creationId xmlns:a16="http://schemas.microsoft.com/office/drawing/2014/main" id="{E715F5C1-F412-4D79-86DE-CB1BA385D727}"/>
              </a:ext>
            </a:extLst>
          </p:cNvPr>
          <p:cNvSpPr/>
          <p:nvPr/>
        </p:nvSpPr>
        <p:spPr>
          <a:xfrm>
            <a:off x="4578786" y="3310849"/>
            <a:ext cx="414148" cy="275716"/>
          </a:xfrm>
          <a:prstGeom prst="rightArrow">
            <a:avLst>
              <a:gd name="adj1" fmla="val 50000"/>
              <a:gd name="adj2" fmla="val 74759"/>
            </a:avLst>
          </a:prstGeom>
          <a:gradFill>
            <a:gsLst>
              <a:gs pos="0">
                <a:schemeClr val="bg1">
                  <a:alpha val="0"/>
                </a:schemeClr>
              </a:gs>
              <a:gs pos="65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50" name="화살표: 오른쪽 71">
            <a:extLst>
              <a:ext uri="{FF2B5EF4-FFF2-40B4-BE49-F238E27FC236}">
                <a16:creationId xmlns:a16="http://schemas.microsoft.com/office/drawing/2014/main" id="{4083A1B1-0ED1-4967-B0D5-A4113581A273}"/>
              </a:ext>
            </a:extLst>
          </p:cNvPr>
          <p:cNvSpPr/>
          <p:nvPr/>
        </p:nvSpPr>
        <p:spPr>
          <a:xfrm>
            <a:off x="6580010" y="3310849"/>
            <a:ext cx="414148" cy="275716"/>
          </a:xfrm>
          <a:prstGeom prst="rightArrow">
            <a:avLst>
              <a:gd name="adj1" fmla="val 50000"/>
              <a:gd name="adj2" fmla="val 74759"/>
            </a:avLst>
          </a:prstGeom>
          <a:gradFill>
            <a:gsLst>
              <a:gs pos="0">
                <a:schemeClr val="bg1">
                  <a:alpha val="0"/>
                </a:schemeClr>
              </a:gs>
              <a:gs pos="65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52" name="화살표: 오른쪽 73">
            <a:extLst>
              <a:ext uri="{FF2B5EF4-FFF2-40B4-BE49-F238E27FC236}">
                <a16:creationId xmlns:a16="http://schemas.microsoft.com/office/drawing/2014/main" id="{4AF08F7A-7950-4665-87A0-E1FB56610F9D}"/>
              </a:ext>
            </a:extLst>
          </p:cNvPr>
          <p:cNvSpPr/>
          <p:nvPr/>
        </p:nvSpPr>
        <p:spPr>
          <a:xfrm>
            <a:off x="2779111" y="3310849"/>
            <a:ext cx="414148" cy="275716"/>
          </a:xfrm>
          <a:prstGeom prst="rightArrow">
            <a:avLst>
              <a:gd name="adj1" fmla="val 50000"/>
              <a:gd name="adj2" fmla="val 74759"/>
            </a:avLst>
          </a:prstGeom>
          <a:gradFill>
            <a:gsLst>
              <a:gs pos="0">
                <a:schemeClr val="bg1">
                  <a:alpha val="0"/>
                </a:schemeClr>
              </a:gs>
              <a:gs pos="65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53" name="화살표: 오른쪽 74">
            <a:extLst>
              <a:ext uri="{FF2B5EF4-FFF2-40B4-BE49-F238E27FC236}">
                <a16:creationId xmlns:a16="http://schemas.microsoft.com/office/drawing/2014/main" id="{2656CB90-FDF9-47F8-86F6-4D8A9B3A79F2}"/>
              </a:ext>
            </a:extLst>
          </p:cNvPr>
          <p:cNvSpPr/>
          <p:nvPr/>
        </p:nvSpPr>
        <p:spPr>
          <a:xfrm>
            <a:off x="8920734" y="3310849"/>
            <a:ext cx="414148" cy="275716"/>
          </a:xfrm>
          <a:prstGeom prst="rightArrow">
            <a:avLst>
              <a:gd name="adj1" fmla="val 50000"/>
              <a:gd name="adj2" fmla="val 74759"/>
            </a:avLst>
          </a:prstGeom>
          <a:gradFill>
            <a:gsLst>
              <a:gs pos="0">
                <a:schemeClr val="bg1">
                  <a:alpha val="0"/>
                </a:schemeClr>
              </a:gs>
              <a:gs pos="65000">
                <a:schemeClr val="bg1"/>
              </a:gs>
            </a:gsLst>
            <a:lin ang="0" scaled="0"/>
          </a:gradFill>
          <a:ln w="2540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55" name="TextBox 2">
            <a:extLst>
              <a:ext uri="{FF2B5EF4-FFF2-40B4-BE49-F238E27FC236}">
                <a16:creationId xmlns:a16="http://schemas.microsoft.com/office/drawing/2014/main" id="{A4E9FEE6-D4D1-4FF0-84A2-6565E140ACFF}"/>
              </a:ext>
            </a:extLst>
          </p:cNvPr>
          <p:cNvSpPr txBox="1"/>
          <p:nvPr/>
        </p:nvSpPr>
        <p:spPr>
          <a:xfrm>
            <a:off x="9259043" y="3248652"/>
            <a:ext cx="535724" cy="400110"/>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000" spc="-50" dirty="0">
                <a:ln>
                  <a:solidFill>
                    <a:srgbClr val="4472C4">
                      <a:alpha val="0"/>
                    </a:srgbClr>
                  </a:solidFill>
                </a:ln>
                <a:solidFill>
                  <a:schemeClr val="bg1"/>
                </a:solidFill>
                <a:latin typeface="Arial" panose="020B0604020202020204" pitchFamily="34" charset="0"/>
                <a:ea typeface="LG스마트체 SemiBold" panose="020B0600000101010101" pitchFamily="50" charset="-127"/>
                <a:cs typeface="Arial" panose="020B0604020202020204" pitchFamily="34" charset="0"/>
              </a:rPr>
              <a:t>I</a:t>
            </a:r>
            <a:r>
              <a:rPr kumimoji="0" lang="en-US" altLang="ko-KR" sz="1000" b="0" i="0" u="none" strike="noStrike" kern="1200" cap="none" spc="-50" normalizeH="0" baseline="0" noProof="0" dirty="0" err="1">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ndoor</a:t>
            </a: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supply</a:t>
            </a:r>
            <a:endParaRPr kumimoji="0" lang="ko-KR" altLang="en-US"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56" name="사각형: 둥근 위쪽 모서리 67">
            <a:extLst>
              <a:ext uri="{FF2B5EF4-FFF2-40B4-BE49-F238E27FC236}">
                <a16:creationId xmlns:a16="http://schemas.microsoft.com/office/drawing/2014/main" id="{8EFD57E0-3C1E-46ED-A38B-9BE2444D69FA}"/>
              </a:ext>
            </a:extLst>
          </p:cNvPr>
          <p:cNvSpPr/>
          <p:nvPr/>
        </p:nvSpPr>
        <p:spPr>
          <a:xfrm>
            <a:off x="5124334" y="1930086"/>
            <a:ext cx="1487298" cy="337592"/>
          </a:xfrm>
          <a:prstGeom prst="round2SameRect">
            <a:avLst>
              <a:gd name="adj1" fmla="val 50000"/>
              <a:gd name="adj2" fmla="val 0"/>
            </a:avLst>
          </a:prstGeom>
          <a:solidFill>
            <a:srgbClr val="C30037"/>
          </a:solidFill>
          <a:ln w="2540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57" name="TextBox 56">
            <a:extLst>
              <a:ext uri="{FF2B5EF4-FFF2-40B4-BE49-F238E27FC236}">
                <a16:creationId xmlns:a16="http://schemas.microsoft.com/office/drawing/2014/main" id="{7D51DB6E-870A-4A57-BFBA-EC3BB03EA3F9}"/>
              </a:ext>
            </a:extLst>
          </p:cNvPr>
          <p:cNvSpPr txBox="1"/>
          <p:nvPr/>
        </p:nvSpPr>
        <p:spPr>
          <a:xfrm>
            <a:off x="5041090" y="1957071"/>
            <a:ext cx="1653786" cy="29238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T</a:t>
            </a:r>
            <a:r>
              <a:rPr kumimoji="0" lang="en-US" altLang="ko-KR" sz="1300" b="0" i="0" u="none" strike="noStrike" kern="120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otal</a:t>
            </a:r>
            <a:r>
              <a:rPr kumimoji="0" lang="en-US" altLang="ko-KR"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 Heat </a:t>
            </a: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E</a:t>
            </a:r>
            <a:r>
              <a:rPr kumimoji="0" lang="en-US" altLang="ko-KR" sz="1300" b="0" i="0" u="none" strike="noStrike" kern="120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xchanger</a:t>
            </a:r>
            <a:endParaRPr kumimoji="0" lang="ko-KR" altLang="en-US"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58" name="사각형: 둥근 위쪽 모서리 80">
            <a:extLst>
              <a:ext uri="{FF2B5EF4-FFF2-40B4-BE49-F238E27FC236}">
                <a16:creationId xmlns:a16="http://schemas.microsoft.com/office/drawing/2014/main" id="{10531674-17FA-4AA4-8073-4730ED7AA0E6}"/>
              </a:ext>
            </a:extLst>
          </p:cNvPr>
          <p:cNvSpPr/>
          <p:nvPr/>
        </p:nvSpPr>
        <p:spPr>
          <a:xfrm>
            <a:off x="7134068" y="1930086"/>
            <a:ext cx="1487298" cy="337592"/>
          </a:xfrm>
          <a:prstGeom prst="round2SameRect">
            <a:avLst>
              <a:gd name="adj1" fmla="val 50000"/>
              <a:gd name="adj2" fmla="val 0"/>
            </a:avLst>
          </a:prstGeom>
          <a:solidFill>
            <a:srgbClr val="C30037"/>
          </a:solidFill>
          <a:ln w="2540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59" name="TextBox 58">
            <a:extLst>
              <a:ext uri="{FF2B5EF4-FFF2-40B4-BE49-F238E27FC236}">
                <a16:creationId xmlns:a16="http://schemas.microsoft.com/office/drawing/2014/main" id="{59E071B0-D48A-471B-8128-929CC6690CA3}"/>
              </a:ext>
            </a:extLst>
          </p:cNvPr>
          <p:cNvSpPr txBox="1"/>
          <p:nvPr/>
        </p:nvSpPr>
        <p:spPr>
          <a:xfrm>
            <a:off x="7144985" y="1957071"/>
            <a:ext cx="1465466" cy="29238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Air Passage</a:t>
            </a:r>
            <a:r>
              <a:rPr kumimoji="0" lang="en-US" altLang="ko-KR"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 (EPS)</a:t>
            </a:r>
            <a:endParaRPr kumimoji="0" lang="ko-KR" altLang="en-US"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pic>
        <p:nvPicPr>
          <p:cNvPr id="100" name="그래픽 54">
            <a:extLst>
              <a:ext uri="{FF2B5EF4-FFF2-40B4-BE49-F238E27FC236}">
                <a16:creationId xmlns:a16="http://schemas.microsoft.com/office/drawing/2014/main" id="{C420DAB8-C471-4C34-8D92-A876039446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555201" y="3717019"/>
            <a:ext cx="201196" cy="203456"/>
          </a:xfrm>
          <a:prstGeom prst="rect">
            <a:avLst/>
          </a:prstGeom>
        </p:spPr>
      </p:pic>
      <p:pic>
        <p:nvPicPr>
          <p:cNvPr id="101" name="그래픽 54">
            <a:extLst>
              <a:ext uri="{FF2B5EF4-FFF2-40B4-BE49-F238E27FC236}">
                <a16:creationId xmlns:a16="http://schemas.microsoft.com/office/drawing/2014/main" id="{C420DAB8-C471-4C34-8D92-A876039446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23390" y="3234266"/>
            <a:ext cx="201196" cy="203456"/>
          </a:xfrm>
          <a:prstGeom prst="rect">
            <a:avLst/>
          </a:prstGeom>
        </p:spPr>
      </p:pic>
      <p:pic>
        <p:nvPicPr>
          <p:cNvPr id="102" name="그래픽 54">
            <a:extLst>
              <a:ext uri="{FF2B5EF4-FFF2-40B4-BE49-F238E27FC236}">
                <a16:creationId xmlns:a16="http://schemas.microsoft.com/office/drawing/2014/main" id="{C420DAB8-C471-4C34-8D92-A876039446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24586" y="3746392"/>
            <a:ext cx="201196" cy="203456"/>
          </a:xfrm>
          <a:prstGeom prst="rect">
            <a:avLst/>
          </a:prstGeom>
        </p:spPr>
      </p:pic>
      <p:sp>
        <p:nvSpPr>
          <p:cNvPr id="107" name="TextBox 2">
            <a:extLst>
              <a:ext uri="{FF2B5EF4-FFF2-40B4-BE49-F238E27FC236}">
                <a16:creationId xmlns:a16="http://schemas.microsoft.com/office/drawing/2014/main" id="{EB0F58DD-5455-40FB-B3E4-5581789355C5}"/>
              </a:ext>
            </a:extLst>
          </p:cNvPr>
          <p:cNvSpPr txBox="1"/>
          <p:nvPr/>
        </p:nvSpPr>
        <p:spPr>
          <a:xfrm>
            <a:off x="3229631" y="4149767"/>
            <a:ext cx="651140" cy="246221"/>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000" spc="-50" dirty="0">
                <a:ln>
                  <a:solidFill>
                    <a:srgbClr val="4472C4">
                      <a:alpha val="0"/>
                    </a:srgbClr>
                  </a:solidFill>
                </a:ln>
                <a:solidFill>
                  <a:schemeClr val="bg1"/>
                </a:solidFill>
                <a:latin typeface="Arial" panose="020B0604020202020204" pitchFamily="34" charset="0"/>
                <a:ea typeface="LG스마트체 SemiBold" panose="020B0600000101010101" pitchFamily="50" charset="-127"/>
                <a:cs typeface="Arial" panose="020B0604020202020204" pitchFamily="34" charset="0"/>
              </a:rPr>
              <a:t>F</a:t>
            </a:r>
            <a:r>
              <a:rPr kumimoji="0" lang="en-US" altLang="ko-KR" sz="1000" b="0" i="0" u="none" strike="noStrike" kern="1200" cap="none" spc="-50" normalizeH="0" baseline="0" noProof="0" dirty="0" err="1">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ine</a:t>
            </a: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 dust</a:t>
            </a:r>
            <a:endParaRPr kumimoji="0" lang="ko-KR" altLang="en-US"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108" name="사각형: 둥근 위쪽 모서리 3">
            <a:extLst>
              <a:ext uri="{FF2B5EF4-FFF2-40B4-BE49-F238E27FC236}">
                <a16:creationId xmlns:a16="http://schemas.microsoft.com/office/drawing/2014/main" id="{B104D418-08A0-4993-8317-B0C9EE1E16B7}"/>
              </a:ext>
            </a:extLst>
          </p:cNvPr>
          <p:cNvSpPr/>
          <p:nvPr/>
        </p:nvSpPr>
        <p:spPr>
          <a:xfrm>
            <a:off x="3183704" y="1930086"/>
            <a:ext cx="1487298" cy="337592"/>
          </a:xfrm>
          <a:prstGeom prst="round2SameRect">
            <a:avLst>
              <a:gd name="adj1" fmla="val 50000"/>
              <a:gd name="adj2" fmla="val 0"/>
            </a:avLst>
          </a:prstGeom>
          <a:solidFill>
            <a:srgbClr val="C30037"/>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109" name="TextBox 108">
            <a:extLst>
              <a:ext uri="{FF2B5EF4-FFF2-40B4-BE49-F238E27FC236}">
                <a16:creationId xmlns:a16="http://schemas.microsoft.com/office/drawing/2014/main" id="{44E86748-D3C7-4ABA-BE40-DE49281D2310}"/>
              </a:ext>
            </a:extLst>
          </p:cNvPr>
          <p:cNvSpPr txBox="1"/>
          <p:nvPr/>
        </p:nvSpPr>
        <p:spPr>
          <a:xfrm>
            <a:off x="3319656" y="1957071"/>
            <a:ext cx="1215397" cy="29238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F</a:t>
            </a:r>
            <a:r>
              <a:rPr kumimoji="0" lang="en-US" altLang="ko-KR" sz="1300" b="0" i="0" u="none" strike="noStrike" kern="120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ine</a:t>
            </a:r>
            <a:r>
              <a:rPr kumimoji="0" lang="en-US" altLang="ko-KR"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 </a:t>
            </a: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D</a:t>
            </a:r>
            <a:r>
              <a:rPr kumimoji="0" lang="en-US" altLang="ko-KR" sz="1300" b="0" i="0" u="none" strike="noStrike" kern="120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ust</a:t>
            </a:r>
            <a:r>
              <a:rPr kumimoji="0" lang="en-US" altLang="ko-KR"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 </a:t>
            </a: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F</a:t>
            </a:r>
            <a:r>
              <a:rPr kumimoji="0" lang="en-US" altLang="ko-KR" sz="1300" b="0" i="0" u="none" strike="noStrike" kern="1200" cap="none" spc="-50" normalizeH="0" baseline="0" noProof="0" dirty="0" err="1">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ilter</a:t>
            </a:r>
            <a:endParaRPr kumimoji="0" lang="ko-KR" altLang="en-US"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110" name="사각형: 둥근 위쪽 모서리 3">
            <a:extLst>
              <a:ext uri="{FF2B5EF4-FFF2-40B4-BE49-F238E27FC236}">
                <a16:creationId xmlns:a16="http://schemas.microsoft.com/office/drawing/2014/main" id="{B104D418-08A0-4993-8317-B0C9EE1E16B7}"/>
              </a:ext>
            </a:extLst>
          </p:cNvPr>
          <p:cNvSpPr/>
          <p:nvPr/>
        </p:nvSpPr>
        <p:spPr>
          <a:xfrm>
            <a:off x="1123542" y="1930086"/>
            <a:ext cx="1487298" cy="337592"/>
          </a:xfrm>
          <a:prstGeom prst="round2SameRect">
            <a:avLst>
              <a:gd name="adj1" fmla="val 50000"/>
              <a:gd name="adj2" fmla="val 0"/>
            </a:avLst>
          </a:prstGeom>
          <a:solidFill>
            <a:srgbClr val="C30037"/>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111" name="TextBox 110">
            <a:extLst>
              <a:ext uri="{FF2B5EF4-FFF2-40B4-BE49-F238E27FC236}">
                <a16:creationId xmlns:a16="http://schemas.microsoft.com/office/drawing/2014/main" id="{44E86748-D3C7-4ABA-BE40-DE49281D2310}"/>
              </a:ext>
            </a:extLst>
          </p:cNvPr>
          <p:cNvSpPr txBox="1"/>
          <p:nvPr/>
        </p:nvSpPr>
        <p:spPr>
          <a:xfrm>
            <a:off x="1491126" y="1957071"/>
            <a:ext cx="752130" cy="29238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300" spc="-50" dirty="0">
                <a:ln>
                  <a:solidFill>
                    <a:srgbClr val="4472C4">
                      <a:alpha val="0"/>
                    </a:srgbClr>
                  </a:solidFill>
                </a:ln>
                <a:solidFill>
                  <a:prstClr val="white"/>
                </a:solidFill>
                <a:latin typeface="Arial" panose="020B0604020202020204" pitchFamily="34" charset="0"/>
                <a:ea typeface="LG스마트체 SemiBold" panose="020B0600000101010101" pitchFamily="50" charset="-127"/>
                <a:cs typeface="Arial" panose="020B0604020202020204" pitchFamily="34" charset="0"/>
              </a:rPr>
              <a:t>P</a:t>
            </a:r>
            <a:r>
              <a:rPr kumimoji="0" lang="en-US" altLang="ko-KR"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rPr>
              <a:t>re-filter</a:t>
            </a:r>
            <a:endParaRPr kumimoji="0" lang="ko-KR" altLang="en-US" sz="13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
        <p:nvSpPr>
          <p:cNvPr id="112" name="TextBox 2">
            <a:extLst>
              <a:ext uri="{FF2B5EF4-FFF2-40B4-BE49-F238E27FC236}">
                <a16:creationId xmlns:a16="http://schemas.microsoft.com/office/drawing/2014/main" id="{EECCD55A-AADD-4099-9E88-BC6B8C8A1437}"/>
              </a:ext>
            </a:extLst>
          </p:cNvPr>
          <p:cNvSpPr txBox="1"/>
          <p:nvPr/>
        </p:nvSpPr>
        <p:spPr>
          <a:xfrm rot="21011804">
            <a:off x="6686396" y="1460471"/>
            <a:ext cx="2893742" cy="253916"/>
          </a:xfrm>
          <a:prstGeom prst="rect">
            <a:avLst/>
          </a:prstGeom>
          <a:noFill/>
        </p:spPr>
        <p:txBody>
          <a:bodyPr wrap="none" rtlCol="0" anchor="ctr">
            <a:spAutoFit/>
          </a:bodyPr>
          <a:lstStyle/>
          <a:p>
            <a:pPr lvl="0" algn="ctr">
              <a:defRPr/>
            </a:pPr>
            <a:r>
              <a:rPr lang="en-US" altLang="ko-KR" sz="1050" b="1" spc="-50" dirty="0">
                <a:ln>
                  <a:solidFill>
                    <a:srgbClr val="4472C4">
                      <a:alpha val="0"/>
                    </a:srgbClr>
                  </a:solidFill>
                </a:ln>
                <a:solidFill>
                  <a:srgbClr val="0000CC"/>
                </a:solidFill>
                <a:latin typeface="Arial" panose="020B0604020202020204" pitchFamily="34" charset="0"/>
                <a:ea typeface="LG스마트체 Regular" panose="020B0600000101010101" pitchFamily="50" charset="-127"/>
                <a:cs typeface="Arial" panose="020B0604020202020204" pitchFamily="34" charset="0"/>
              </a:rPr>
              <a:t>Bacterial resistant  and Mold resistant  material</a:t>
            </a:r>
            <a:endParaRPr kumimoji="0" lang="ko-KR" altLang="en-US" sz="1050" b="1" i="0" u="none" strike="noStrike" kern="1200" cap="none" spc="-50" normalizeH="0" baseline="0" noProof="0" dirty="0">
              <a:ln>
                <a:solidFill>
                  <a:srgbClr val="4472C4">
                    <a:alpha val="0"/>
                  </a:srgbClr>
                </a:solidFill>
              </a:ln>
              <a:solidFill>
                <a:srgbClr val="0000CC"/>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113" name="자유형 112"/>
          <p:cNvSpPr/>
          <p:nvPr/>
        </p:nvSpPr>
        <p:spPr>
          <a:xfrm>
            <a:off x="7293535" y="1789921"/>
            <a:ext cx="654424" cy="260621"/>
          </a:xfrm>
          <a:custGeom>
            <a:avLst/>
            <a:gdLst>
              <a:gd name="connsiteX0" fmla="*/ 0 w 654424"/>
              <a:gd name="connsiteY0" fmla="*/ 108221 h 260621"/>
              <a:gd name="connsiteX1" fmla="*/ 0 w 654424"/>
              <a:gd name="connsiteY1" fmla="*/ 108221 h 260621"/>
              <a:gd name="connsiteX2" fmla="*/ 98612 w 654424"/>
              <a:gd name="connsiteY2" fmla="*/ 170974 h 260621"/>
              <a:gd name="connsiteX3" fmla="*/ 116542 w 654424"/>
              <a:gd name="connsiteY3" fmla="*/ 206833 h 260621"/>
              <a:gd name="connsiteX4" fmla="*/ 152400 w 654424"/>
              <a:gd name="connsiteY4" fmla="*/ 260621 h 260621"/>
              <a:gd name="connsiteX5" fmla="*/ 161365 w 654424"/>
              <a:gd name="connsiteY5" fmla="*/ 233727 h 260621"/>
              <a:gd name="connsiteX6" fmla="*/ 304800 w 654424"/>
              <a:gd name="connsiteY6" fmla="*/ 99256 h 260621"/>
              <a:gd name="connsiteX7" fmla="*/ 502024 w 654424"/>
              <a:gd name="connsiteY7" fmla="*/ 9609 h 260621"/>
              <a:gd name="connsiteX8" fmla="*/ 654424 w 654424"/>
              <a:gd name="connsiteY8" fmla="*/ 644 h 26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4424" h="260621">
                <a:moveTo>
                  <a:pt x="0" y="108221"/>
                </a:moveTo>
                <a:lnTo>
                  <a:pt x="0" y="108221"/>
                </a:lnTo>
                <a:cubicBezTo>
                  <a:pt x="11607" y="114669"/>
                  <a:pt x="79935" y="142959"/>
                  <a:pt x="98612" y="170974"/>
                </a:cubicBezTo>
                <a:cubicBezTo>
                  <a:pt x="106025" y="182093"/>
                  <a:pt x="109666" y="195374"/>
                  <a:pt x="116542" y="206833"/>
                </a:cubicBezTo>
                <a:cubicBezTo>
                  <a:pt x="127628" y="225310"/>
                  <a:pt x="152400" y="260621"/>
                  <a:pt x="152400" y="260621"/>
                </a:cubicBezTo>
                <a:cubicBezTo>
                  <a:pt x="155388" y="251656"/>
                  <a:pt x="155986" y="241496"/>
                  <a:pt x="161365" y="233727"/>
                </a:cubicBezTo>
                <a:cubicBezTo>
                  <a:pt x="219416" y="149876"/>
                  <a:pt x="223673" y="143876"/>
                  <a:pt x="304800" y="99256"/>
                </a:cubicBezTo>
                <a:cubicBezTo>
                  <a:pt x="324599" y="88366"/>
                  <a:pt x="468727" y="14366"/>
                  <a:pt x="502024" y="9609"/>
                </a:cubicBezTo>
                <a:cubicBezTo>
                  <a:pt x="594359" y="-3582"/>
                  <a:pt x="543647" y="644"/>
                  <a:pt x="654424" y="644"/>
                </a:cubicBezTo>
              </a:path>
            </a:pathLst>
          </a:cu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0000CC"/>
              </a:solidFill>
              <a:latin typeface="Arial" panose="020B0604020202020204" pitchFamily="34" charset="0"/>
              <a:cs typeface="Arial" panose="020B0604020202020204" pitchFamily="34" charset="0"/>
            </a:endParaRPr>
          </a:p>
        </p:txBody>
      </p:sp>
      <p:sp>
        <p:nvSpPr>
          <p:cNvPr id="114" name="TextBox 2">
            <a:extLst>
              <a:ext uri="{FF2B5EF4-FFF2-40B4-BE49-F238E27FC236}">
                <a16:creationId xmlns:a16="http://schemas.microsoft.com/office/drawing/2014/main" id="{EECCD55A-AADD-4099-9E88-BC6B8C8A1437}"/>
              </a:ext>
            </a:extLst>
          </p:cNvPr>
          <p:cNvSpPr txBox="1"/>
          <p:nvPr/>
        </p:nvSpPr>
        <p:spPr>
          <a:xfrm rot="21011804">
            <a:off x="4831508" y="1620507"/>
            <a:ext cx="1534395" cy="253916"/>
          </a:xfrm>
          <a:prstGeom prst="rect">
            <a:avLst/>
          </a:prstGeom>
          <a:noFill/>
        </p:spPr>
        <p:txBody>
          <a:bodyPr wrap="none" rtlCol="0" anchor="ctr">
            <a:spAutoFit/>
          </a:bodyPr>
          <a:lstStyle/>
          <a:p>
            <a:pPr lvl="0" algn="ctr">
              <a:defRPr/>
            </a:pPr>
            <a:r>
              <a:rPr lang="en-US" altLang="ko-KR" sz="1050" b="1" spc="-50" dirty="0">
                <a:ln>
                  <a:solidFill>
                    <a:srgbClr val="4472C4">
                      <a:alpha val="0"/>
                    </a:srgbClr>
                  </a:solidFill>
                </a:ln>
                <a:solidFill>
                  <a:srgbClr val="0000CC"/>
                </a:solidFill>
                <a:latin typeface="Arial" panose="020B0604020202020204" pitchFamily="34" charset="0"/>
                <a:ea typeface="LG스마트체 Regular" panose="020B0600000101010101" pitchFamily="50" charset="-127"/>
                <a:cs typeface="Arial" panose="020B0604020202020204" pitchFamily="34" charset="0"/>
              </a:rPr>
              <a:t>Mold resistant  material</a:t>
            </a:r>
            <a:endParaRPr kumimoji="0" lang="ko-KR" altLang="en-US" sz="1050" b="1" i="0" u="none" strike="noStrike" kern="1200" cap="none" spc="-50" normalizeH="0" baseline="0" noProof="0" dirty="0">
              <a:ln>
                <a:solidFill>
                  <a:srgbClr val="4472C4">
                    <a:alpha val="0"/>
                  </a:srgbClr>
                </a:solidFill>
              </a:ln>
              <a:solidFill>
                <a:srgbClr val="0000CC"/>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115" name="자유형 114"/>
          <p:cNvSpPr/>
          <p:nvPr/>
        </p:nvSpPr>
        <p:spPr>
          <a:xfrm>
            <a:off x="5286605" y="1789920"/>
            <a:ext cx="654424" cy="260621"/>
          </a:xfrm>
          <a:custGeom>
            <a:avLst/>
            <a:gdLst>
              <a:gd name="connsiteX0" fmla="*/ 0 w 654424"/>
              <a:gd name="connsiteY0" fmla="*/ 108221 h 260621"/>
              <a:gd name="connsiteX1" fmla="*/ 0 w 654424"/>
              <a:gd name="connsiteY1" fmla="*/ 108221 h 260621"/>
              <a:gd name="connsiteX2" fmla="*/ 98612 w 654424"/>
              <a:gd name="connsiteY2" fmla="*/ 170974 h 260621"/>
              <a:gd name="connsiteX3" fmla="*/ 116542 w 654424"/>
              <a:gd name="connsiteY3" fmla="*/ 206833 h 260621"/>
              <a:gd name="connsiteX4" fmla="*/ 152400 w 654424"/>
              <a:gd name="connsiteY4" fmla="*/ 260621 h 260621"/>
              <a:gd name="connsiteX5" fmla="*/ 161365 w 654424"/>
              <a:gd name="connsiteY5" fmla="*/ 233727 h 260621"/>
              <a:gd name="connsiteX6" fmla="*/ 304800 w 654424"/>
              <a:gd name="connsiteY6" fmla="*/ 99256 h 260621"/>
              <a:gd name="connsiteX7" fmla="*/ 502024 w 654424"/>
              <a:gd name="connsiteY7" fmla="*/ 9609 h 260621"/>
              <a:gd name="connsiteX8" fmla="*/ 654424 w 654424"/>
              <a:gd name="connsiteY8" fmla="*/ 644 h 26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4424" h="260621">
                <a:moveTo>
                  <a:pt x="0" y="108221"/>
                </a:moveTo>
                <a:lnTo>
                  <a:pt x="0" y="108221"/>
                </a:lnTo>
                <a:cubicBezTo>
                  <a:pt x="11607" y="114669"/>
                  <a:pt x="79935" y="142959"/>
                  <a:pt x="98612" y="170974"/>
                </a:cubicBezTo>
                <a:cubicBezTo>
                  <a:pt x="106025" y="182093"/>
                  <a:pt x="109666" y="195374"/>
                  <a:pt x="116542" y="206833"/>
                </a:cubicBezTo>
                <a:cubicBezTo>
                  <a:pt x="127628" y="225310"/>
                  <a:pt x="152400" y="260621"/>
                  <a:pt x="152400" y="260621"/>
                </a:cubicBezTo>
                <a:cubicBezTo>
                  <a:pt x="155388" y="251656"/>
                  <a:pt x="155986" y="241496"/>
                  <a:pt x="161365" y="233727"/>
                </a:cubicBezTo>
                <a:cubicBezTo>
                  <a:pt x="219416" y="149876"/>
                  <a:pt x="223673" y="143876"/>
                  <a:pt x="304800" y="99256"/>
                </a:cubicBezTo>
                <a:cubicBezTo>
                  <a:pt x="324599" y="88366"/>
                  <a:pt x="468727" y="14366"/>
                  <a:pt x="502024" y="9609"/>
                </a:cubicBezTo>
                <a:cubicBezTo>
                  <a:pt x="594359" y="-3582"/>
                  <a:pt x="543647" y="644"/>
                  <a:pt x="654424" y="644"/>
                </a:cubicBezTo>
              </a:path>
            </a:pathLst>
          </a:cu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0000CC"/>
              </a:solidFill>
              <a:latin typeface="Arial" panose="020B0604020202020204" pitchFamily="34" charset="0"/>
              <a:cs typeface="Arial" panose="020B0604020202020204" pitchFamily="34" charset="0"/>
            </a:endParaRPr>
          </a:p>
        </p:txBody>
      </p:sp>
      <p:grpSp>
        <p:nvGrpSpPr>
          <p:cNvPr id="118" name="그룹 117">
            <a:extLst>
              <a:ext uri="{FF2B5EF4-FFF2-40B4-BE49-F238E27FC236}">
                <a16:creationId xmlns:a16="http://schemas.microsoft.com/office/drawing/2014/main" id="{41F62E4F-C822-40D7-AF4D-CFCA62E9BA34}"/>
              </a:ext>
            </a:extLst>
          </p:cNvPr>
          <p:cNvGrpSpPr/>
          <p:nvPr/>
        </p:nvGrpSpPr>
        <p:grpSpPr>
          <a:xfrm>
            <a:off x="4866550" y="4440645"/>
            <a:ext cx="4873875" cy="808161"/>
            <a:chOff x="2540773" y="4733398"/>
            <a:chExt cx="6044400" cy="808161"/>
          </a:xfrm>
        </p:grpSpPr>
        <p:sp>
          <p:nvSpPr>
            <p:cNvPr id="119" name="사각형: 둥근 위쪽 모서리 4">
              <a:extLst>
                <a:ext uri="{FF2B5EF4-FFF2-40B4-BE49-F238E27FC236}">
                  <a16:creationId xmlns:a16="http://schemas.microsoft.com/office/drawing/2014/main" id="{3B5D943A-5482-4E93-AB1C-4B3557ABCE0F}"/>
                </a:ext>
              </a:extLst>
            </p:cNvPr>
            <p:cNvSpPr/>
            <p:nvPr/>
          </p:nvSpPr>
          <p:spPr>
            <a:xfrm rot="10800000">
              <a:off x="2555080" y="4789404"/>
              <a:ext cx="6012657" cy="752155"/>
            </a:xfrm>
            <a:prstGeom prst="round2SameRect">
              <a:avLst>
                <a:gd name="adj1" fmla="val 50000"/>
                <a:gd name="adj2" fmla="val 0"/>
              </a:avLst>
            </a:prstGeom>
            <a:solidFill>
              <a:schemeClr val="tx1"/>
            </a:solidFill>
            <a:ln w="31750">
              <a:gradFill>
                <a:gsLst>
                  <a:gs pos="0">
                    <a:srgbClr val="C30037"/>
                  </a:gs>
                  <a:gs pos="100000">
                    <a:srgbClr val="F92763"/>
                  </a:gs>
                </a:gsLst>
                <a:lin ang="0" scaled="0"/>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120" name="직사각형 119">
              <a:extLst>
                <a:ext uri="{FF2B5EF4-FFF2-40B4-BE49-F238E27FC236}">
                  <a16:creationId xmlns:a16="http://schemas.microsoft.com/office/drawing/2014/main" id="{20635683-48DF-4612-8F80-AB9BEA4FF6C5}"/>
                </a:ext>
              </a:extLst>
            </p:cNvPr>
            <p:cNvSpPr/>
            <p:nvPr/>
          </p:nvSpPr>
          <p:spPr>
            <a:xfrm rot="5400000">
              <a:off x="5540113" y="1734058"/>
              <a:ext cx="45719" cy="60444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sp>
        <p:nvSpPr>
          <p:cNvPr id="122" name="TextBox 2">
            <a:extLst>
              <a:ext uri="{FF2B5EF4-FFF2-40B4-BE49-F238E27FC236}">
                <a16:creationId xmlns:a16="http://schemas.microsoft.com/office/drawing/2014/main" id="{4FB47BA2-BED4-4E98-A91C-55F7144FBFE7}"/>
              </a:ext>
            </a:extLst>
          </p:cNvPr>
          <p:cNvSpPr txBox="1"/>
          <p:nvPr/>
        </p:nvSpPr>
        <p:spPr>
          <a:xfrm>
            <a:off x="5442753" y="4541867"/>
            <a:ext cx="1716817" cy="230832"/>
          </a:xfrm>
          <a:prstGeom prst="rect">
            <a:avLst/>
          </a:prstGeom>
          <a:no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60" normalizeH="0" baseline="0" noProof="0" dirty="0">
                <a:ln>
                  <a:solidFill>
                    <a:srgbClr val="3DB5F4">
                      <a:alpha val="0"/>
                    </a:srgbClr>
                  </a:solidFill>
                </a:ln>
                <a:solidFill>
                  <a:schemeClr val="bg1"/>
                </a:solidFill>
                <a:effectLst/>
                <a:uLnTx/>
                <a:uFillTx/>
                <a:latin typeface="Arial Narrow" panose="020B0606020202030204" pitchFamily="34" charset="0"/>
                <a:ea typeface="LG스마트체 SemiBold"/>
                <a:cs typeface="Arial" panose="020B0604020202020204" pitchFamily="34" charset="0"/>
              </a:rPr>
              <a:t>Staphylococcus aureus, Escherichia coli</a:t>
            </a:r>
            <a:endParaRPr kumimoji="0" lang="en-US" altLang="ko-KR" sz="900" b="0" i="0" u="none" strike="noStrike" kern="1200" cap="none" spc="-50" normalizeH="0" baseline="0" noProof="0" dirty="0">
              <a:ln>
                <a:solidFill>
                  <a:srgbClr val="4472C4">
                    <a:alpha val="0"/>
                  </a:srgbClr>
                </a:solidFill>
              </a:ln>
              <a:solidFill>
                <a:schemeClr val="bg1"/>
              </a:solidFill>
              <a:effectLst/>
              <a:uLnTx/>
              <a:uFillTx/>
              <a:latin typeface="Arial Narrow" panose="020B0606020202030204" pitchFamily="34" charset="0"/>
              <a:ea typeface="LG스마트체 SemiBold" panose="020B0600000101010101" pitchFamily="50" charset="-127"/>
              <a:cs typeface="Arial" panose="020B0604020202020204" pitchFamily="34" charset="0"/>
            </a:endParaRPr>
          </a:p>
        </p:txBody>
      </p:sp>
      <p:sp>
        <p:nvSpPr>
          <p:cNvPr id="123" name="TextBox 2">
            <a:extLst>
              <a:ext uri="{FF2B5EF4-FFF2-40B4-BE49-F238E27FC236}">
                <a16:creationId xmlns:a16="http://schemas.microsoft.com/office/drawing/2014/main" id="{E5C44FCC-3988-4530-87EC-182FF14633FC}"/>
              </a:ext>
            </a:extLst>
          </p:cNvPr>
          <p:cNvSpPr txBox="1"/>
          <p:nvPr/>
        </p:nvSpPr>
        <p:spPr>
          <a:xfrm>
            <a:off x="5442753" y="4728551"/>
            <a:ext cx="1295868" cy="323165"/>
          </a:xfrm>
          <a:prstGeom prst="rect">
            <a:avLst/>
          </a:prstGeom>
          <a:no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500" b="0" i="0" u="none" strike="noStrike" kern="1200" cap="none" spc="-60" normalizeH="0" baseline="0" noProof="0" dirty="0">
                <a:ln>
                  <a:no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99% removed</a:t>
            </a:r>
          </a:p>
        </p:txBody>
      </p:sp>
      <p:sp>
        <p:nvSpPr>
          <p:cNvPr id="124" name="TextBox 2">
            <a:extLst>
              <a:ext uri="{FF2B5EF4-FFF2-40B4-BE49-F238E27FC236}">
                <a16:creationId xmlns:a16="http://schemas.microsoft.com/office/drawing/2014/main" id="{91E1C30F-0C59-4CEA-9370-F69635727445}"/>
              </a:ext>
            </a:extLst>
          </p:cNvPr>
          <p:cNvSpPr txBox="1"/>
          <p:nvPr/>
        </p:nvSpPr>
        <p:spPr>
          <a:xfrm>
            <a:off x="7945702" y="4526478"/>
            <a:ext cx="1634926" cy="261610"/>
          </a:xfrm>
          <a:prstGeom prst="rect">
            <a:avLst/>
          </a:prstGeom>
          <a:noFill/>
        </p:spPr>
        <p:txBody>
          <a:bodyPr wrap="square" rtlCol="0" anchor="ctr">
            <a:spAutoFit/>
          </a:bodyPr>
          <a:lstStyle/>
          <a:p>
            <a:pPr lvl="0">
              <a:defRPr/>
            </a:pPr>
            <a:r>
              <a:rPr lang="en-US" altLang="ko-KR" sz="1100" b="1" spc="-60" dirty="0">
                <a:ln>
                  <a:solidFill>
                    <a:srgbClr val="3DB5F4">
                      <a:alpha val="0"/>
                    </a:srgbClr>
                  </a:solidFill>
                </a:ln>
                <a:solidFill>
                  <a:schemeClr val="bg1"/>
                </a:solidFill>
                <a:latin typeface="Arial" panose="020B0604020202020204" pitchFamily="34" charset="0"/>
                <a:ea typeface="LG스마트체 SemiBold"/>
                <a:cs typeface="Arial" panose="020B0604020202020204" pitchFamily="34" charset="0"/>
              </a:rPr>
              <a:t>Mold resistant material</a:t>
            </a:r>
          </a:p>
        </p:txBody>
      </p:sp>
      <p:sp>
        <p:nvSpPr>
          <p:cNvPr id="131" name="TextBox 2">
            <a:extLst>
              <a:ext uri="{FF2B5EF4-FFF2-40B4-BE49-F238E27FC236}">
                <a16:creationId xmlns:a16="http://schemas.microsoft.com/office/drawing/2014/main" id="{01DF13E2-B0DB-4820-A963-CDDFE490B1AD}"/>
              </a:ext>
            </a:extLst>
          </p:cNvPr>
          <p:cNvSpPr txBox="1"/>
          <p:nvPr/>
        </p:nvSpPr>
        <p:spPr>
          <a:xfrm>
            <a:off x="7945703" y="4687815"/>
            <a:ext cx="1422184" cy="553998"/>
          </a:xfrm>
          <a:prstGeom prst="rect">
            <a:avLst/>
          </a:prstGeom>
          <a:no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500" b="0" i="0" u="none" strike="noStrike" kern="1200" cap="none" spc="-60" normalizeH="0" baseline="0" noProof="0" dirty="0">
                <a:ln>
                  <a:no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Zero gra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500" b="0" i="0" u="none" strike="noStrike" kern="1200" cap="none" spc="-60" normalizeH="0" baseline="0" noProof="0" dirty="0">
                <a:ln>
                  <a:no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 </a:t>
            </a:r>
            <a:r>
              <a:rPr kumimoji="0" lang="en-US" altLang="ko-KR" sz="1200" b="0" i="0" u="none" strike="noStrike" kern="1200" cap="none" spc="-60" normalizeH="0" baseline="0" noProof="0" dirty="0">
                <a:ln>
                  <a:no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The highest grade)</a:t>
            </a:r>
            <a:endParaRPr kumimoji="0" lang="ko-KR" altLang="en-US" sz="1200" b="0" i="0" u="none" strike="noStrike" kern="1200" cap="none" spc="-60" normalizeH="0" baseline="0" noProof="0" dirty="0">
              <a:ln>
                <a:no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grpSp>
        <p:nvGrpSpPr>
          <p:cNvPr id="132" name="그룹 131">
            <a:extLst>
              <a:ext uri="{FF2B5EF4-FFF2-40B4-BE49-F238E27FC236}">
                <a16:creationId xmlns:a16="http://schemas.microsoft.com/office/drawing/2014/main" id="{FD83070B-7A0F-4124-B682-AE2CDD562C61}"/>
              </a:ext>
            </a:extLst>
          </p:cNvPr>
          <p:cNvGrpSpPr/>
          <p:nvPr/>
        </p:nvGrpSpPr>
        <p:grpSpPr>
          <a:xfrm>
            <a:off x="5018239" y="4659302"/>
            <a:ext cx="441100" cy="441098"/>
            <a:chOff x="2662237" y="2185987"/>
            <a:chExt cx="581025" cy="581025"/>
          </a:xfrm>
        </p:grpSpPr>
        <p:pic>
          <p:nvPicPr>
            <p:cNvPr id="133" name="그래픽 16">
              <a:extLst>
                <a:ext uri="{FF2B5EF4-FFF2-40B4-BE49-F238E27FC236}">
                  <a16:creationId xmlns:a16="http://schemas.microsoft.com/office/drawing/2014/main" id="{726030F4-9D7A-4AE4-BE6E-348296C4665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662237" y="2185987"/>
              <a:ext cx="581025" cy="581025"/>
            </a:xfrm>
            <a:prstGeom prst="rect">
              <a:avLst/>
            </a:prstGeom>
          </p:spPr>
        </p:pic>
        <p:pic>
          <p:nvPicPr>
            <p:cNvPr id="134" name="그래픽 18">
              <a:extLst>
                <a:ext uri="{FF2B5EF4-FFF2-40B4-BE49-F238E27FC236}">
                  <a16:creationId xmlns:a16="http://schemas.microsoft.com/office/drawing/2014/main" id="{C7F9A2E9-5D4C-43A8-9963-1C233C9384B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757485" y="2271713"/>
              <a:ext cx="390525" cy="409575"/>
            </a:xfrm>
            <a:prstGeom prst="rect">
              <a:avLst/>
            </a:prstGeom>
          </p:spPr>
        </p:pic>
      </p:grpSp>
      <p:grpSp>
        <p:nvGrpSpPr>
          <p:cNvPr id="135" name="그룹 134">
            <a:extLst>
              <a:ext uri="{FF2B5EF4-FFF2-40B4-BE49-F238E27FC236}">
                <a16:creationId xmlns:a16="http://schemas.microsoft.com/office/drawing/2014/main" id="{A5736905-7ACF-4E3E-A94C-BC9BE89753C0}"/>
              </a:ext>
            </a:extLst>
          </p:cNvPr>
          <p:cNvGrpSpPr/>
          <p:nvPr/>
        </p:nvGrpSpPr>
        <p:grpSpPr>
          <a:xfrm>
            <a:off x="7500235" y="4660574"/>
            <a:ext cx="448332" cy="448330"/>
            <a:chOff x="4657725" y="3133725"/>
            <a:chExt cx="590550" cy="590550"/>
          </a:xfrm>
        </p:grpSpPr>
        <p:pic>
          <p:nvPicPr>
            <p:cNvPr id="147" name="그래픽 20">
              <a:extLst>
                <a:ext uri="{FF2B5EF4-FFF2-40B4-BE49-F238E27FC236}">
                  <a16:creationId xmlns:a16="http://schemas.microsoft.com/office/drawing/2014/main" id="{8A2EA735-803F-4470-B219-FD2D77E77CD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57725" y="3133725"/>
              <a:ext cx="590550" cy="590550"/>
            </a:xfrm>
            <a:prstGeom prst="rect">
              <a:avLst/>
            </a:prstGeom>
          </p:spPr>
        </p:pic>
        <p:pic>
          <p:nvPicPr>
            <p:cNvPr id="148" name="그래픽 22">
              <a:extLst>
                <a:ext uri="{FF2B5EF4-FFF2-40B4-BE49-F238E27FC236}">
                  <a16:creationId xmlns:a16="http://schemas.microsoft.com/office/drawing/2014/main" id="{AAA00AE6-876A-4A74-B14D-1210C2A7C5D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767262" y="3243262"/>
              <a:ext cx="371475" cy="371475"/>
            </a:xfrm>
            <a:prstGeom prst="rect">
              <a:avLst/>
            </a:prstGeom>
          </p:spPr>
        </p:pic>
      </p:grpSp>
      <p:cxnSp>
        <p:nvCxnSpPr>
          <p:cNvPr id="150" name="직선 연결선 149">
            <a:extLst>
              <a:ext uri="{FF2B5EF4-FFF2-40B4-BE49-F238E27FC236}">
                <a16:creationId xmlns:a16="http://schemas.microsoft.com/office/drawing/2014/main" id="{63F11AE8-16D7-417F-A9E8-219A9B61997F}"/>
              </a:ext>
            </a:extLst>
          </p:cNvPr>
          <p:cNvCxnSpPr>
            <a:cxnSpLocks/>
          </p:cNvCxnSpPr>
          <p:nvPr/>
        </p:nvCxnSpPr>
        <p:spPr>
          <a:xfrm>
            <a:off x="7112574" y="4634985"/>
            <a:ext cx="0" cy="475488"/>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pic>
        <p:nvPicPr>
          <p:cNvPr id="62" name="그림 61"/>
          <p:cNvPicPr>
            <a:picLocks noChangeAspect="1"/>
          </p:cNvPicPr>
          <p:nvPr/>
        </p:nvPicPr>
        <p:blipFill>
          <a:blip r:embed="rId14"/>
          <a:stretch>
            <a:fillRect/>
          </a:stretch>
        </p:blipFill>
        <p:spPr>
          <a:xfrm>
            <a:off x="1325758" y="2819426"/>
            <a:ext cx="1587525" cy="1587525"/>
          </a:xfrm>
          <a:prstGeom prst="rect">
            <a:avLst/>
          </a:prstGeom>
        </p:spPr>
      </p:pic>
      <p:pic>
        <p:nvPicPr>
          <p:cNvPr id="104" name="그래픽 54">
            <a:extLst>
              <a:ext uri="{FF2B5EF4-FFF2-40B4-BE49-F238E27FC236}">
                <a16:creationId xmlns:a16="http://schemas.microsoft.com/office/drawing/2014/main" id="{B604D8D1-AB59-401C-9D92-29131334C2F5}"/>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966240" y="3151201"/>
            <a:ext cx="365480" cy="369586"/>
          </a:xfrm>
          <a:prstGeom prst="rect">
            <a:avLst/>
          </a:prstGeom>
        </p:spPr>
      </p:pic>
      <p:sp>
        <p:nvSpPr>
          <p:cNvPr id="51" name="화살표: 오른쪽 72">
            <a:extLst>
              <a:ext uri="{FF2B5EF4-FFF2-40B4-BE49-F238E27FC236}">
                <a16:creationId xmlns:a16="http://schemas.microsoft.com/office/drawing/2014/main" id="{DF5BB4F3-B76E-4390-9369-6D9E0D0A7B33}"/>
              </a:ext>
            </a:extLst>
          </p:cNvPr>
          <p:cNvSpPr/>
          <p:nvPr/>
        </p:nvSpPr>
        <p:spPr>
          <a:xfrm>
            <a:off x="447701" y="3310849"/>
            <a:ext cx="414148" cy="275716"/>
          </a:xfrm>
          <a:prstGeom prst="rightArrow">
            <a:avLst>
              <a:gd name="adj1" fmla="val 50000"/>
              <a:gd name="adj2" fmla="val 74759"/>
            </a:avLst>
          </a:prstGeom>
          <a:gradFill>
            <a:gsLst>
              <a:gs pos="0">
                <a:schemeClr val="bg1">
                  <a:alpha val="0"/>
                </a:schemeClr>
              </a:gs>
              <a:gs pos="65000">
                <a:schemeClr val="bg1"/>
              </a:gs>
            </a:gsLst>
            <a:lin ang="0" scaled="0"/>
          </a:gradFill>
          <a:ln w="2540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54" name="TextBox 2">
            <a:extLst>
              <a:ext uri="{FF2B5EF4-FFF2-40B4-BE49-F238E27FC236}">
                <a16:creationId xmlns:a16="http://schemas.microsoft.com/office/drawing/2014/main" id="{F10961DA-5318-4F3B-97F4-48BF82AC9E83}"/>
              </a:ext>
            </a:extLst>
          </p:cNvPr>
          <p:cNvSpPr txBox="1"/>
          <p:nvPr/>
        </p:nvSpPr>
        <p:spPr>
          <a:xfrm>
            <a:off x="44244" y="3248652"/>
            <a:ext cx="607860" cy="400110"/>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Outsid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air</a:t>
            </a:r>
            <a:endParaRPr kumimoji="0" lang="ko-KR" altLang="en-US"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pic>
        <p:nvPicPr>
          <p:cNvPr id="103" name="그래픽 54">
            <a:extLst>
              <a:ext uri="{FF2B5EF4-FFF2-40B4-BE49-F238E27FC236}">
                <a16:creationId xmlns:a16="http://schemas.microsoft.com/office/drawing/2014/main" id="{BED71590-5E4B-466D-A318-0D915CEF887A}"/>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510117" y="3555479"/>
            <a:ext cx="365480" cy="369586"/>
          </a:xfrm>
          <a:prstGeom prst="rect">
            <a:avLst/>
          </a:prstGeom>
        </p:spPr>
      </p:pic>
      <p:pic>
        <p:nvPicPr>
          <p:cNvPr id="105" name="그래픽 54">
            <a:extLst>
              <a:ext uri="{FF2B5EF4-FFF2-40B4-BE49-F238E27FC236}">
                <a16:creationId xmlns:a16="http://schemas.microsoft.com/office/drawing/2014/main" id="{FCBA630D-C494-4B6A-8267-1F9CA04C7FBA}"/>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12707" y="3761009"/>
            <a:ext cx="365480" cy="369586"/>
          </a:xfrm>
          <a:prstGeom prst="rect">
            <a:avLst/>
          </a:prstGeom>
        </p:spPr>
      </p:pic>
      <p:sp>
        <p:nvSpPr>
          <p:cNvPr id="106" name="TextBox 2">
            <a:extLst>
              <a:ext uri="{FF2B5EF4-FFF2-40B4-BE49-F238E27FC236}">
                <a16:creationId xmlns:a16="http://schemas.microsoft.com/office/drawing/2014/main" id="{20EC8F2E-8D15-4F5A-A26A-61EA1BEB12EE}"/>
              </a:ext>
            </a:extLst>
          </p:cNvPr>
          <p:cNvSpPr txBox="1"/>
          <p:nvPr/>
        </p:nvSpPr>
        <p:spPr>
          <a:xfrm>
            <a:off x="1581998" y="4149767"/>
            <a:ext cx="593432" cy="246221"/>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rPr>
              <a:t>Big dust</a:t>
            </a:r>
            <a:endParaRPr kumimoji="0" lang="ko-KR" altLang="en-US" sz="1000" b="0" i="0" u="none" strike="noStrike" kern="1200" cap="none" spc="-50" normalizeH="0" baseline="0" noProof="0" dirty="0">
              <a:ln>
                <a:solidFill>
                  <a:srgbClr val="4472C4">
                    <a:alpha val="0"/>
                  </a:srgbClr>
                </a:solidFill>
              </a:ln>
              <a:solidFill>
                <a:schemeClr val="bg1"/>
              </a:solidFill>
              <a:effectLst/>
              <a:uLnTx/>
              <a:uFillTx/>
              <a:latin typeface="Arial" panose="020B0604020202020204" pitchFamily="34" charset="0"/>
              <a:ea typeface="LG스마트체 SemiBold" panose="020B0600000101010101" pitchFamily="50" charset="-127"/>
              <a:cs typeface="Arial" panose="020B0604020202020204" pitchFamily="34" charset="0"/>
            </a:endParaRPr>
          </a:p>
        </p:txBody>
      </p:sp>
    </p:spTree>
    <p:extLst>
      <p:ext uri="{BB962C8B-B14F-4D97-AF65-F5344CB8AC3E}">
        <p14:creationId xmlns:p14="http://schemas.microsoft.com/office/powerpoint/2010/main" val="17740156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그림 45">
            <a:extLst>
              <a:ext uri="{FF2B5EF4-FFF2-40B4-BE49-F238E27FC236}">
                <a16:creationId xmlns:a16="http://schemas.microsoft.com/office/drawing/2014/main" id="{FCFE83E9-7323-414B-B51A-600272B20CA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278624"/>
            <a:ext cx="9906000" cy="6858000"/>
          </a:xfrm>
          <a:prstGeom prst="rect">
            <a:avLst/>
          </a:prstGeom>
        </p:spPr>
      </p:pic>
      <p:sp>
        <p:nvSpPr>
          <p:cNvPr id="2" name="텍스트 개체 틀 1"/>
          <p:cNvSpPr>
            <a:spLocks noGrp="1"/>
          </p:cNvSpPr>
          <p:nvPr>
            <p:ph type="body" sz="quarter" idx="19"/>
          </p:nvPr>
        </p:nvSpPr>
        <p:spPr/>
        <p:txBody>
          <a:bodyPr/>
          <a:lstStyle/>
          <a:p>
            <a:r>
              <a:rPr lang="en-US" altLang="ko-KR" dirty="0"/>
              <a:t>Dual Fine Dust Monitoring by PM1.0 sensor</a:t>
            </a:r>
          </a:p>
        </p:txBody>
      </p:sp>
      <p:sp>
        <p:nvSpPr>
          <p:cNvPr id="6" name="텍스트 개체 틀 5"/>
          <p:cNvSpPr>
            <a:spLocks noGrp="1"/>
          </p:cNvSpPr>
          <p:nvPr>
            <p:ph type="body" sz="quarter" idx="20"/>
          </p:nvPr>
        </p:nvSpPr>
        <p:spPr/>
        <p:txBody>
          <a:bodyPr/>
          <a:lstStyle/>
          <a:p>
            <a:r>
              <a:rPr lang="en-US" altLang="ko-KR" dirty="0"/>
              <a:t>Clean Air</a:t>
            </a:r>
          </a:p>
        </p:txBody>
      </p:sp>
      <p:sp>
        <p:nvSpPr>
          <p:cNvPr id="3" name="텍스트 개체 틀 2"/>
          <p:cNvSpPr>
            <a:spLocks noGrp="1"/>
          </p:cNvSpPr>
          <p:nvPr>
            <p:ph type="body" sz="quarter" idx="21"/>
          </p:nvPr>
        </p:nvSpPr>
        <p:spPr/>
        <p:txBody>
          <a:bodyPr/>
          <a:lstStyle/>
          <a:p>
            <a:r>
              <a:rPr lang="en-US" altLang="ko-KR" dirty="0"/>
              <a:t>Two fine dust sensors monitor the air coming in from the outside and the fine dust in the air supplied to the room after passing through the filter in real time to ensure that clean air is always supplied.</a:t>
            </a:r>
          </a:p>
        </p:txBody>
      </p:sp>
      <p:sp>
        <p:nvSpPr>
          <p:cNvPr id="48" name="타원 47">
            <a:extLst>
              <a:ext uri="{FF2B5EF4-FFF2-40B4-BE49-F238E27FC236}">
                <a16:creationId xmlns:a16="http://schemas.microsoft.com/office/drawing/2014/main" id="{F6480D39-EF50-4A2C-B124-E889CAD79914}"/>
              </a:ext>
            </a:extLst>
          </p:cNvPr>
          <p:cNvSpPr/>
          <p:nvPr/>
        </p:nvSpPr>
        <p:spPr>
          <a:xfrm>
            <a:off x="6197089" y="4156153"/>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49" name="직선 연결선 48">
            <a:extLst>
              <a:ext uri="{FF2B5EF4-FFF2-40B4-BE49-F238E27FC236}">
                <a16:creationId xmlns:a16="http://schemas.microsoft.com/office/drawing/2014/main" id="{9D52FE38-2FAC-44B5-B8D6-EA2243322496}"/>
              </a:ext>
            </a:extLst>
          </p:cNvPr>
          <p:cNvCxnSpPr>
            <a:cxnSpLocks/>
          </p:cNvCxnSpPr>
          <p:nvPr/>
        </p:nvCxnSpPr>
        <p:spPr>
          <a:xfrm>
            <a:off x="2028825" y="2830542"/>
            <a:ext cx="4070223"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0" name="타원 49">
            <a:extLst>
              <a:ext uri="{FF2B5EF4-FFF2-40B4-BE49-F238E27FC236}">
                <a16:creationId xmlns:a16="http://schemas.microsoft.com/office/drawing/2014/main" id="{E29FF70E-D76F-493E-900C-2B4D61AF5BB2}"/>
              </a:ext>
            </a:extLst>
          </p:cNvPr>
          <p:cNvSpPr/>
          <p:nvPr/>
        </p:nvSpPr>
        <p:spPr>
          <a:xfrm>
            <a:off x="1192527" y="1567522"/>
            <a:ext cx="2569848" cy="2569846"/>
          </a:xfrm>
          <a:prstGeom prst="ellipse">
            <a:avLst/>
          </a:prstGeom>
          <a:gradFill flip="none" rotWithShape="1">
            <a:gsLst>
              <a:gs pos="0">
                <a:srgbClr val="F92763">
                  <a:alpha val="50000"/>
                </a:srgbClr>
              </a:gs>
              <a:gs pos="100000">
                <a:srgbClr val="C30037">
                  <a:alpha val="50000"/>
                </a:srgbClr>
              </a:gs>
            </a:gsLst>
            <a:lin ang="5400000" scaled="0"/>
            <a:tileRect/>
          </a:gra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51" name="타원 50">
            <a:extLst>
              <a:ext uri="{FF2B5EF4-FFF2-40B4-BE49-F238E27FC236}">
                <a16:creationId xmlns:a16="http://schemas.microsoft.com/office/drawing/2014/main" id="{1276D5E7-7773-4BEF-B49C-33382CAEE1F9}"/>
              </a:ext>
            </a:extLst>
          </p:cNvPr>
          <p:cNvSpPr/>
          <p:nvPr/>
        </p:nvSpPr>
        <p:spPr>
          <a:xfrm>
            <a:off x="6078217" y="2775409"/>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52" name="직선 연결선 51">
            <a:extLst>
              <a:ext uri="{FF2B5EF4-FFF2-40B4-BE49-F238E27FC236}">
                <a16:creationId xmlns:a16="http://schemas.microsoft.com/office/drawing/2014/main" id="{175FACEB-6B07-4967-81D8-5158DDBFC9EA}"/>
              </a:ext>
            </a:extLst>
          </p:cNvPr>
          <p:cNvCxnSpPr>
            <a:cxnSpLocks/>
          </p:cNvCxnSpPr>
          <p:nvPr/>
        </p:nvCxnSpPr>
        <p:spPr>
          <a:xfrm>
            <a:off x="4919472" y="2830336"/>
            <a:ext cx="0" cy="140016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직선 연결선 52">
            <a:extLst>
              <a:ext uri="{FF2B5EF4-FFF2-40B4-BE49-F238E27FC236}">
                <a16:creationId xmlns:a16="http://schemas.microsoft.com/office/drawing/2014/main" id="{618D7FE4-B696-4905-8F31-622CE925EA33}"/>
              </a:ext>
            </a:extLst>
          </p:cNvPr>
          <p:cNvCxnSpPr>
            <a:cxnSpLocks/>
          </p:cNvCxnSpPr>
          <p:nvPr/>
        </p:nvCxnSpPr>
        <p:spPr>
          <a:xfrm>
            <a:off x="4905375" y="4220430"/>
            <a:ext cx="1321689"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54" name="그림 53" descr="별이(가) 표시된 사진&#10;&#10;자동 생성된 설명">
            <a:extLst>
              <a:ext uri="{FF2B5EF4-FFF2-40B4-BE49-F238E27FC236}">
                <a16:creationId xmlns:a16="http://schemas.microsoft.com/office/drawing/2014/main" id="{14A5DE92-5BEA-4E56-B929-7DD12D33A0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935835">
            <a:off x="1479039" y="3132894"/>
            <a:ext cx="5830893" cy="2916430"/>
          </a:xfrm>
          <a:prstGeom prst="rect">
            <a:avLst/>
          </a:prstGeom>
        </p:spPr>
      </p:pic>
      <p:pic>
        <p:nvPicPr>
          <p:cNvPr id="55" name="그림 54" descr="녹색, 보는, 공, 연이(가) 표시된 사진&#10;&#10;자동 생성된 설명">
            <a:extLst>
              <a:ext uri="{FF2B5EF4-FFF2-40B4-BE49-F238E27FC236}">
                <a16:creationId xmlns:a16="http://schemas.microsoft.com/office/drawing/2014/main" id="{E03B339E-F985-4AB7-A939-ACDD5CB2C28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231310" y="5674745"/>
            <a:ext cx="716908" cy="731520"/>
          </a:xfrm>
          <a:prstGeom prst="rect">
            <a:avLst/>
          </a:prstGeom>
        </p:spPr>
      </p:pic>
      <p:pic>
        <p:nvPicPr>
          <p:cNvPr id="56" name="그림 55" descr="녹색, 보는, 공, 연이(가) 표시된 사진&#10;&#10;자동 생성된 설명">
            <a:extLst>
              <a:ext uri="{FF2B5EF4-FFF2-40B4-BE49-F238E27FC236}">
                <a16:creationId xmlns:a16="http://schemas.microsoft.com/office/drawing/2014/main" id="{10FA55BF-0CB2-4E7F-B6E9-382AE744D13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239520" y="3240149"/>
            <a:ext cx="2479040" cy="1361440"/>
          </a:xfrm>
          <a:prstGeom prst="rect">
            <a:avLst/>
          </a:prstGeom>
        </p:spPr>
      </p:pic>
      <p:sp>
        <p:nvSpPr>
          <p:cNvPr id="57" name="타원 56">
            <a:extLst>
              <a:ext uri="{FF2B5EF4-FFF2-40B4-BE49-F238E27FC236}">
                <a16:creationId xmlns:a16="http://schemas.microsoft.com/office/drawing/2014/main" id="{1B3910CB-ED16-4624-A564-C7272B375D35}"/>
              </a:ext>
            </a:extLst>
          </p:cNvPr>
          <p:cNvSpPr/>
          <p:nvPr/>
        </p:nvSpPr>
        <p:spPr>
          <a:xfrm>
            <a:off x="1341017" y="1716012"/>
            <a:ext cx="2272869" cy="2272867"/>
          </a:xfrm>
          <a:prstGeom prst="ellipse">
            <a:avLst/>
          </a:prstGeom>
          <a:solidFill>
            <a:srgbClr val="C30037"/>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58" name="TextBox 2">
            <a:extLst>
              <a:ext uri="{FF2B5EF4-FFF2-40B4-BE49-F238E27FC236}">
                <a16:creationId xmlns:a16="http://schemas.microsoft.com/office/drawing/2014/main" id="{910F826C-595B-4F84-B8F1-F4DADE8CFEF4}"/>
              </a:ext>
            </a:extLst>
          </p:cNvPr>
          <p:cNvSpPr txBox="1"/>
          <p:nvPr/>
        </p:nvSpPr>
        <p:spPr>
          <a:xfrm>
            <a:off x="1537427" y="2659365"/>
            <a:ext cx="1880050" cy="923330"/>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Dual Laser </a:t>
            </a:r>
          </a:p>
          <a:p>
            <a:pPr marL="0" marR="0" lvl="0" indent="0" algn="ctr" defTabSz="457200" rtl="0" eaLnBrk="1" fontAlgn="auto" latinLnBrk="0" hangingPunct="1">
              <a:lnSpc>
                <a:spcPct val="100000"/>
              </a:lnSpc>
              <a:spcBef>
                <a:spcPts val="0"/>
              </a:spcBef>
              <a:spcAft>
                <a:spcPts val="0"/>
              </a:spcAft>
              <a:buClrTx/>
              <a:buSzTx/>
              <a:buFontTx/>
              <a:buNone/>
              <a:tabLst/>
              <a:defRPr/>
            </a:pP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F</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ine </a:t>
            </a: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D</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ust</a:t>
            </a:r>
          </a:p>
          <a:p>
            <a:pPr marL="0" marR="0" lvl="0" indent="0" algn="ctr" defTabSz="457200" rtl="0" eaLnBrk="1" fontAlgn="auto" latinLnBrk="0" hangingPunct="1">
              <a:lnSpc>
                <a:spcPct val="100000"/>
              </a:lnSpc>
              <a:spcBef>
                <a:spcPts val="0"/>
              </a:spcBef>
              <a:spcAft>
                <a:spcPts val="0"/>
              </a:spcAft>
              <a:buClrTx/>
              <a:buSzTx/>
              <a:buFontTx/>
              <a:buNone/>
              <a:tabLst/>
              <a:defRPr/>
            </a:pP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PM1.0 S</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ensor</a:t>
            </a:r>
            <a:endParaRPr kumimoji="0" lang="ko-KR" altLang="en-US" sz="20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Bold" panose="020B0600000101010101" pitchFamily="50" charset="-127"/>
              <a:cs typeface="Arial" panose="020B0604020202020204" pitchFamily="34" charset="0"/>
            </a:endParaRPr>
          </a:p>
        </p:txBody>
      </p:sp>
      <p:pic>
        <p:nvPicPr>
          <p:cNvPr id="59" name="그래픽 50">
            <a:extLst>
              <a:ext uri="{FF2B5EF4-FFF2-40B4-BE49-F238E27FC236}">
                <a16:creationId xmlns:a16="http://schemas.microsoft.com/office/drawing/2014/main" id="{5F2B189E-5057-4072-804D-FAA1547B730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192022" y="2074416"/>
            <a:ext cx="672475" cy="596056"/>
          </a:xfrm>
          <a:prstGeom prst="rect">
            <a:avLst/>
          </a:prstGeom>
        </p:spPr>
      </p:pic>
      <p:pic>
        <p:nvPicPr>
          <p:cNvPr id="60" name="그림 59" descr="녹색, 보는, 공, 연이(가) 표시된 사진&#10;&#10;자동 생성된 설명">
            <a:extLst>
              <a:ext uri="{FF2B5EF4-FFF2-40B4-BE49-F238E27FC236}">
                <a16:creationId xmlns:a16="http://schemas.microsoft.com/office/drawing/2014/main" id="{DDD35269-FB07-45B9-AA8C-42F219FD07D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988038" y="3153985"/>
            <a:ext cx="883920" cy="670520"/>
          </a:xfrm>
          <a:prstGeom prst="rect">
            <a:avLst/>
          </a:prstGeom>
        </p:spPr>
      </p:pic>
      <p:sp>
        <p:nvSpPr>
          <p:cNvPr id="47" name="TextBox 46">
            <a:extLst>
              <a:ext uri="{FF2B5EF4-FFF2-40B4-BE49-F238E27FC236}">
                <a16:creationId xmlns:a16="http://schemas.microsoft.com/office/drawing/2014/main" id="{19DAEAEB-1639-4BF7-B830-0351305395EE}"/>
              </a:ext>
            </a:extLst>
          </p:cNvPr>
          <p:cNvSpPr txBox="1"/>
          <p:nvPr/>
        </p:nvSpPr>
        <p:spPr>
          <a:xfrm>
            <a:off x="678208" y="4680891"/>
            <a:ext cx="3498713" cy="757130"/>
          </a:xfrm>
          <a:prstGeom prst="rect">
            <a:avLst/>
          </a:prstGeom>
          <a:noFill/>
        </p:spPr>
        <p:txBody>
          <a:bodyPr wrap="square">
            <a:spAutoFit/>
          </a:bodyPr>
          <a:lstStyle/>
          <a:p>
            <a:pPr marL="0" marR="0" lvl="0" indent="0" defTabSz="457200" rtl="0" eaLnBrk="1" fontAlgn="auto" latinLnBrk="0" hangingPunct="1">
              <a:lnSpc>
                <a:spcPct val="120000"/>
              </a:lnSpc>
              <a:spcBef>
                <a:spcPts val="0"/>
              </a:spcBef>
              <a:spcAft>
                <a:spcPts val="0"/>
              </a:spcAft>
              <a:buClrTx/>
              <a:buSzTx/>
              <a:buFontTx/>
              <a:buNone/>
              <a:tabLst/>
              <a:defRPr/>
            </a:pP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When the concentration of fine dust in the air supplied to the room rises above </a:t>
            </a: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the setting</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standard,</a:t>
            </a:r>
            <a:r>
              <a:rPr kumimoji="0" lang="en-US" altLang="ko-KR" sz="1200" b="0" i="0" u="none" strike="noStrike" kern="1200" cap="none" spc="-50" normalizeH="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the </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filter replacement notification is displayed.</a:t>
            </a:r>
          </a:p>
        </p:txBody>
      </p:sp>
      <p:sp>
        <p:nvSpPr>
          <p:cNvPr id="27" name="TextBox 26">
            <a:extLst>
              <a:ext uri="{FF2B5EF4-FFF2-40B4-BE49-F238E27FC236}">
                <a16:creationId xmlns:a16="http://schemas.microsoft.com/office/drawing/2014/main" id="{19DAEAEB-1639-4BF7-B830-0351305395EE}"/>
              </a:ext>
            </a:extLst>
          </p:cNvPr>
          <p:cNvSpPr txBox="1"/>
          <p:nvPr/>
        </p:nvSpPr>
        <p:spPr>
          <a:xfrm>
            <a:off x="78171" y="6537903"/>
            <a:ext cx="3734663" cy="260008"/>
          </a:xfrm>
          <a:prstGeom prst="rect">
            <a:avLst/>
          </a:prstGeom>
          <a:noFill/>
        </p:spPr>
        <p:txBody>
          <a:bodyPr wrap="square">
            <a:spAutoFit/>
          </a:bodyPr>
          <a:lstStyle/>
          <a:p>
            <a:pPr lvl="0">
              <a:lnSpc>
                <a:spcPct val="120000"/>
              </a:lnSpc>
              <a:defRPr/>
            </a:pPr>
            <a:r>
              <a:rPr lang="en-US" altLang="ko-KR" sz="10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PM1.0 sensor are embedded</a:t>
            </a:r>
          </a:p>
        </p:txBody>
      </p:sp>
      <p:sp>
        <p:nvSpPr>
          <p:cNvPr id="32" name="타원 31">
            <a:extLst>
              <a:ext uri="{FF2B5EF4-FFF2-40B4-BE49-F238E27FC236}">
                <a16:creationId xmlns:a16="http://schemas.microsoft.com/office/drawing/2014/main" id="{F6480D39-EF50-4A2C-B124-E889CAD79914}"/>
              </a:ext>
            </a:extLst>
          </p:cNvPr>
          <p:cNvSpPr/>
          <p:nvPr/>
        </p:nvSpPr>
        <p:spPr>
          <a:xfrm>
            <a:off x="6197089" y="4156153"/>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33" name="직선 연결선 32">
            <a:extLst>
              <a:ext uri="{FF2B5EF4-FFF2-40B4-BE49-F238E27FC236}">
                <a16:creationId xmlns:a16="http://schemas.microsoft.com/office/drawing/2014/main" id="{618D7FE4-B696-4905-8F31-622CE925EA33}"/>
              </a:ext>
            </a:extLst>
          </p:cNvPr>
          <p:cNvCxnSpPr>
            <a:cxnSpLocks/>
          </p:cNvCxnSpPr>
          <p:nvPr/>
        </p:nvCxnSpPr>
        <p:spPr>
          <a:xfrm>
            <a:off x="4905375" y="4220430"/>
            <a:ext cx="1321689"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5" name="그림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41767" y="3344254"/>
            <a:ext cx="3227707" cy="3138570"/>
          </a:xfrm>
          <a:prstGeom prst="rect">
            <a:avLst/>
          </a:prstGeom>
        </p:spPr>
      </p:pic>
    </p:spTree>
    <p:extLst>
      <p:ext uri="{BB962C8B-B14F-4D97-AF65-F5344CB8AC3E}">
        <p14:creationId xmlns:p14="http://schemas.microsoft.com/office/powerpoint/2010/main" val="2154694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그림 28">
            <a:extLst>
              <a:ext uri="{FF2B5EF4-FFF2-40B4-BE49-F238E27FC236}">
                <a16:creationId xmlns:a16="http://schemas.microsoft.com/office/drawing/2014/main" id="{FCFE83E9-7323-414B-B51A-600272B20CA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165100"/>
            <a:ext cx="9906000" cy="6858000"/>
          </a:xfrm>
          <a:prstGeom prst="rect">
            <a:avLst/>
          </a:prstGeom>
        </p:spPr>
      </p:pic>
      <p:pic>
        <p:nvPicPr>
          <p:cNvPr id="41" name="그림 40" descr="녹색이(가) 표시된 사진&#10;&#10;자동 생성된 설명">
            <a:extLst>
              <a:ext uri="{FF2B5EF4-FFF2-40B4-BE49-F238E27FC236}">
                <a16:creationId xmlns:a16="http://schemas.microsoft.com/office/drawing/2014/main" id="{99D5BE3B-42B3-4A90-BEC2-AE9877402F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517790"/>
            <a:ext cx="6134100" cy="4246684"/>
          </a:xfrm>
          <a:prstGeom prst="rect">
            <a:avLst/>
          </a:prstGeom>
        </p:spPr>
      </p:pic>
      <p:sp>
        <p:nvSpPr>
          <p:cNvPr id="2" name="텍스트 개체 틀 1"/>
          <p:cNvSpPr>
            <a:spLocks noGrp="1"/>
          </p:cNvSpPr>
          <p:nvPr>
            <p:ph type="body" sz="quarter" idx="19"/>
          </p:nvPr>
        </p:nvSpPr>
        <p:spPr/>
        <p:txBody>
          <a:bodyPr/>
          <a:lstStyle/>
          <a:p>
            <a:r>
              <a:rPr lang="en-US" altLang="ko-KR" dirty="0"/>
              <a:t>Indoor CO</a:t>
            </a:r>
            <a:r>
              <a:rPr lang="en-US" altLang="ko-KR" baseline="-25000" dirty="0"/>
              <a:t>2</a:t>
            </a:r>
            <a:r>
              <a:rPr lang="en-US" altLang="ko-KR" dirty="0"/>
              <a:t> Monitoring</a:t>
            </a:r>
          </a:p>
        </p:txBody>
      </p:sp>
      <p:sp>
        <p:nvSpPr>
          <p:cNvPr id="6" name="텍스트 개체 틀 5"/>
          <p:cNvSpPr>
            <a:spLocks noGrp="1"/>
          </p:cNvSpPr>
          <p:nvPr>
            <p:ph type="body" sz="quarter" idx="20"/>
          </p:nvPr>
        </p:nvSpPr>
        <p:spPr/>
        <p:txBody>
          <a:bodyPr/>
          <a:lstStyle/>
          <a:p>
            <a:r>
              <a:rPr lang="en-US" altLang="ko-KR" dirty="0"/>
              <a:t>Clean Air</a:t>
            </a:r>
          </a:p>
        </p:txBody>
      </p:sp>
      <p:sp>
        <p:nvSpPr>
          <p:cNvPr id="3" name="텍스트 개체 틀 2"/>
          <p:cNvSpPr>
            <a:spLocks noGrp="1"/>
          </p:cNvSpPr>
          <p:nvPr>
            <p:ph type="body" sz="quarter" idx="21"/>
          </p:nvPr>
        </p:nvSpPr>
        <p:spPr>
          <a:xfrm>
            <a:off x="278422" y="748127"/>
            <a:ext cx="9342438" cy="492443"/>
          </a:xfrm>
        </p:spPr>
        <p:txBody>
          <a:bodyPr/>
          <a:lstStyle/>
          <a:p>
            <a:r>
              <a:rPr lang="en-US" altLang="ko-KR" dirty="0"/>
              <a:t>Factory Installed CO</a:t>
            </a:r>
            <a:r>
              <a:rPr lang="en-US" altLang="ko-KR" baseline="-25000" dirty="0"/>
              <a:t>2</a:t>
            </a:r>
            <a:r>
              <a:rPr lang="en-US" altLang="ko-KR" dirty="0"/>
              <a:t> sensor in return air section monitors the concentration of carbon dioxide in real time and automatically controls the amount of ventilation.</a:t>
            </a:r>
          </a:p>
        </p:txBody>
      </p:sp>
      <p:sp>
        <p:nvSpPr>
          <p:cNvPr id="30" name="TextBox 29">
            <a:extLst>
              <a:ext uri="{FF2B5EF4-FFF2-40B4-BE49-F238E27FC236}">
                <a16:creationId xmlns:a16="http://schemas.microsoft.com/office/drawing/2014/main" id="{19DAEAEB-1639-4BF7-B830-0351305395EE}"/>
              </a:ext>
            </a:extLst>
          </p:cNvPr>
          <p:cNvSpPr txBox="1"/>
          <p:nvPr/>
        </p:nvSpPr>
        <p:spPr>
          <a:xfrm>
            <a:off x="610120" y="4419643"/>
            <a:ext cx="3734663" cy="1643527"/>
          </a:xfrm>
          <a:prstGeom prst="rect">
            <a:avLst/>
          </a:prstGeom>
          <a:noFill/>
        </p:spPr>
        <p:txBody>
          <a:bodyPr wrap="square">
            <a:spAutoFit/>
          </a:bodyPr>
          <a:lstStyle/>
          <a:p>
            <a:pPr lvl="0">
              <a:lnSpc>
                <a:spcPct val="120000"/>
              </a:lnSpc>
              <a:defRPr/>
            </a:pP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It monitors </a:t>
            </a: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CO</a:t>
            </a:r>
            <a:r>
              <a:rPr lang="en-US" altLang="ko-KR" sz="1200" spc="-50" baseline="-2500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2</a:t>
            </a: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concentration </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of the air going out from the room in real time. </a:t>
            </a:r>
          </a:p>
          <a:p>
            <a:pPr marL="0" marR="0" lvl="0" indent="0" defTabSz="457200" rtl="0" eaLnBrk="1" fontAlgn="auto" latinLnBrk="0" hangingPunct="1">
              <a:lnSpc>
                <a:spcPct val="120000"/>
              </a:lnSpc>
              <a:spcBef>
                <a:spcPts val="0"/>
              </a:spcBef>
              <a:spcAft>
                <a:spcPts val="0"/>
              </a:spcAft>
              <a:buClrTx/>
              <a:buSzTx/>
              <a:buFontTx/>
              <a:buNone/>
              <a:tabLst/>
              <a:defRPr/>
            </a:pP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a:t>
            </a:r>
          </a:p>
          <a:p>
            <a:pPr lvl="0">
              <a:lnSpc>
                <a:spcPct val="120000"/>
              </a:lnSpc>
              <a:defRPr/>
            </a:pP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The amount of ventilation is increased when the concentration level of carbon dioxide is high, and the amount of </a:t>
            </a: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ventilation is automatically reduced</a:t>
            </a:r>
            <a:r>
              <a:rPr kumimoji="0" lang="en-US" altLang="ko-KR" sz="1200" b="0" i="0" u="none" strike="noStrike" kern="1200" cap="none" spc="-50" normalizeH="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when </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it is low.</a:t>
            </a:r>
          </a:p>
        </p:txBody>
      </p:sp>
      <p:grpSp>
        <p:nvGrpSpPr>
          <p:cNvPr id="31" name="그룹 30">
            <a:extLst>
              <a:ext uri="{FF2B5EF4-FFF2-40B4-BE49-F238E27FC236}">
                <a16:creationId xmlns:a16="http://schemas.microsoft.com/office/drawing/2014/main" id="{01FDDAA0-7CA7-4892-9A61-72E2E08F6133}"/>
              </a:ext>
            </a:extLst>
          </p:cNvPr>
          <p:cNvGrpSpPr/>
          <p:nvPr/>
        </p:nvGrpSpPr>
        <p:grpSpPr>
          <a:xfrm>
            <a:off x="2711923" y="2879789"/>
            <a:ext cx="3290979" cy="128555"/>
            <a:chOff x="2028825" y="3044889"/>
            <a:chExt cx="3290979" cy="128555"/>
          </a:xfrm>
        </p:grpSpPr>
        <p:sp>
          <p:nvSpPr>
            <p:cNvPr id="32" name="타원 31">
              <a:extLst>
                <a:ext uri="{FF2B5EF4-FFF2-40B4-BE49-F238E27FC236}">
                  <a16:creationId xmlns:a16="http://schemas.microsoft.com/office/drawing/2014/main" id="{F6480D39-EF50-4A2C-B124-E889CAD79914}"/>
                </a:ext>
              </a:extLst>
            </p:cNvPr>
            <p:cNvSpPr/>
            <p:nvPr/>
          </p:nvSpPr>
          <p:spPr>
            <a:xfrm>
              <a:off x="5191249" y="3044889"/>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33" name="직선 연결선 32">
              <a:extLst>
                <a:ext uri="{FF2B5EF4-FFF2-40B4-BE49-F238E27FC236}">
                  <a16:creationId xmlns:a16="http://schemas.microsoft.com/office/drawing/2014/main" id="{9D52FE38-2FAC-44B5-B8D6-EA2243322496}"/>
                </a:ext>
              </a:extLst>
            </p:cNvPr>
            <p:cNvCxnSpPr>
              <a:cxnSpLocks/>
            </p:cNvCxnSpPr>
            <p:nvPr/>
          </p:nvCxnSpPr>
          <p:spPr>
            <a:xfrm>
              <a:off x="2028825" y="3109166"/>
              <a:ext cx="3177656"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pic>
        <p:nvPicPr>
          <p:cNvPr id="35" name="그림 34" descr="별이(가) 표시된 사진&#10;&#10;자동 생성된 설명">
            <a:extLst>
              <a:ext uri="{FF2B5EF4-FFF2-40B4-BE49-F238E27FC236}">
                <a16:creationId xmlns:a16="http://schemas.microsoft.com/office/drawing/2014/main" id="{D3839283-8E9A-40E2-96DC-B327A51F4BC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935835">
            <a:off x="5010565" y="5548164"/>
            <a:ext cx="762985" cy="649360"/>
          </a:xfrm>
          <a:prstGeom prst="rect">
            <a:avLst/>
          </a:prstGeom>
        </p:spPr>
      </p:pic>
      <p:pic>
        <p:nvPicPr>
          <p:cNvPr id="36" name="그림 35" descr="녹색, 보는, 공, 연이(가) 표시된 사진&#10;&#10;자동 생성된 설명">
            <a:extLst>
              <a:ext uri="{FF2B5EF4-FFF2-40B4-BE49-F238E27FC236}">
                <a16:creationId xmlns:a16="http://schemas.microsoft.com/office/drawing/2014/main" id="{6D01F6B1-C2AD-43FD-A260-C448043B5BB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78971" y="3349870"/>
            <a:ext cx="716908" cy="731520"/>
          </a:xfrm>
          <a:prstGeom prst="rect">
            <a:avLst/>
          </a:prstGeom>
        </p:spPr>
      </p:pic>
      <p:sp>
        <p:nvSpPr>
          <p:cNvPr id="37" name="타원 36">
            <a:extLst>
              <a:ext uri="{FF2B5EF4-FFF2-40B4-BE49-F238E27FC236}">
                <a16:creationId xmlns:a16="http://schemas.microsoft.com/office/drawing/2014/main" id="{9754254F-CE7F-4692-BC95-240AA678795A}"/>
              </a:ext>
            </a:extLst>
          </p:cNvPr>
          <p:cNvSpPr/>
          <p:nvPr/>
        </p:nvSpPr>
        <p:spPr>
          <a:xfrm>
            <a:off x="1192527" y="1681046"/>
            <a:ext cx="2569848" cy="2569846"/>
          </a:xfrm>
          <a:prstGeom prst="ellipse">
            <a:avLst/>
          </a:prstGeom>
          <a:gradFill flip="none" rotWithShape="1">
            <a:gsLst>
              <a:gs pos="0">
                <a:srgbClr val="F92763">
                  <a:alpha val="50000"/>
                </a:srgbClr>
              </a:gs>
              <a:gs pos="100000">
                <a:srgbClr val="C30037">
                  <a:alpha val="50000"/>
                </a:srgbClr>
              </a:gs>
            </a:gsLst>
            <a:lin ang="5400000" scaled="0"/>
            <a:tileRect/>
          </a:gra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38" name="타원 37">
            <a:extLst>
              <a:ext uri="{FF2B5EF4-FFF2-40B4-BE49-F238E27FC236}">
                <a16:creationId xmlns:a16="http://schemas.microsoft.com/office/drawing/2014/main" id="{84CFEF50-2EAE-4670-8476-722F51668CE3}"/>
              </a:ext>
            </a:extLst>
          </p:cNvPr>
          <p:cNvSpPr/>
          <p:nvPr/>
        </p:nvSpPr>
        <p:spPr>
          <a:xfrm>
            <a:off x="1341017" y="1829536"/>
            <a:ext cx="2272869" cy="2272867"/>
          </a:xfrm>
          <a:prstGeom prst="ellipse">
            <a:avLst/>
          </a:prstGeom>
          <a:solidFill>
            <a:srgbClr val="C30037"/>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39" name="TextBox 2">
            <a:extLst>
              <a:ext uri="{FF2B5EF4-FFF2-40B4-BE49-F238E27FC236}">
                <a16:creationId xmlns:a16="http://schemas.microsoft.com/office/drawing/2014/main" id="{910F826C-595B-4F84-B8F1-F4DADE8CFEF4}"/>
              </a:ext>
            </a:extLst>
          </p:cNvPr>
          <p:cNvSpPr txBox="1"/>
          <p:nvPr/>
        </p:nvSpPr>
        <p:spPr>
          <a:xfrm>
            <a:off x="1537427" y="2911388"/>
            <a:ext cx="1880050" cy="6463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CO</a:t>
            </a:r>
            <a:r>
              <a:rPr kumimoji="0" lang="en-US" altLang="ko-KR" sz="1800" b="0" i="0" u="none" strike="noStrike" kern="1200" cap="none" spc="-50" normalizeH="0" baseline="-2500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2</a:t>
            </a:r>
            <a:r>
              <a:rPr kumimoji="0" lang="en-US"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 Sensor</a:t>
            </a:r>
            <a:endParaRPr kumimoji="0" lang="ko-KR" altLang="en-US" sz="20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Bold" panose="020B0600000101010101" pitchFamily="50" charset="-127"/>
              <a:cs typeface="Arial" panose="020B0604020202020204" pitchFamily="34" charset="0"/>
            </a:endParaRPr>
          </a:p>
        </p:txBody>
      </p:sp>
      <p:pic>
        <p:nvPicPr>
          <p:cNvPr id="40" name="그래픽 14">
            <a:extLst>
              <a:ext uri="{FF2B5EF4-FFF2-40B4-BE49-F238E27FC236}">
                <a16:creationId xmlns:a16="http://schemas.microsoft.com/office/drawing/2014/main" id="{0399E0C0-27E6-4FDC-AE3C-7A9F94FA14A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92022" y="2187940"/>
            <a:ext cx="676596" cy="599710"/>
          </a:xfrm>
          <a:prstGeom prst="rect">
            <a:avLst/>
          </a:prstGeom>
        </p:spPr>
      </p:pic>
      <p:sp>
        <p:nvSpPr>
          <p:cNvPr id="25" name="TextBox 24">
            <a:extLst>
              <a:ext uri="{FF2B5EF4-FFF2-40B4-BE49-F238E27FC236}">
                <a16:creationId xmlns:a16="http://schemas.microsoft.com/office/drawing/2014/main" id="{19DAEAEB-1639-4BF7-B830-0351305395EE}"/>
              </a:ext>
            </a:extLst>
          </p:cNvPr>
          <p:cNvSpPr txBox="1"/>
          <p:nvPr/>
        </p:nvSpPr>
        <p:spPr>
          <a:xfrm>
            <a:off x="78171" y="6537903"/>
            <a:ext cx="3734663" cy="276999"/>
          </a:xfrm>
          <a:prstGeom prst="rect">
            <a:avLst/>
          </a:prstGeom>
          <a:noFill/>
        </p:spPr>
        <p:txBody>
          <a:bodyPr wrap="square">
            <a:spAutoFit/>
          </a:bodyPr>
          <a:lstStyle/>
          <a:p>
            <a:pPr>
              <a:lnSpc>
                <a:spcPct val="120000"/>
              </a:lnSpc>
              <a:defRPr/>
            </a:pPr>
            <a:r>
              <a:rPr lang="en-US" altLang="ko-KR" sz="10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CO</a:t>
            </a:r>
            <a:r>
              <a:rPr lang="en-US" altLang="ko-KR" sz="1000" spc="-50" baseline="-2500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2</a:t>
            </a:r>
            <a:r>
              <a:rPr lang="en-US" altLang="ko-KR" sz="10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a:t>
            </a:r>
            <a:r>
              <a:rPr kumimoji="0" lang="en-US" altLang="ko-KR" sz="10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sensor</a:t>
            </a:r>
            <a:r>
              <a:rPr kumimoji="0" lang="en-US" altLang="ko-KR" sz="1000" b="0" i="0" u="none" strike="noStrike" kern="1200" cap="none" spc="-50" normalizeH="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a:t>
            </a:r>
            <a:r>
              <a:rPr lang="en-US" altLang="ko-KR" sz="1000" spc="-50" noProof="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is</a:t>
            </a:r>
            <a:r>
              <a:rPr kumimoji="0" lang="en-US" altLang="ko-KR" sz="1000" b="0" i="0" u="none" strike="noStrike" kern="1200" cap="none" spc="-50" normalizeH="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embedded</a:t>
            </a:r>
            <a:endParaRPr kumimoji="0" lang="en-US" altLang="ko-KR" sz="10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45" name="직사각형 44"/>
          <p:cNvSpPr/>
          <p:nvPr/>
        </p:nvSpPr>
        <p:spPr>
          <a:xfrm>
            <a:off x="8393514" y="2798116"/>
            <a:ext cx="936425" cy="199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7" name="그림 46" descr="별이(가) 표시된 사진&#10;&#10;자동 생성된 설명">
            <a:extLst>
              <a:ext uri="{FF2B5EF4-FFF2-40B4-BE49-F238E27FC236}">
                <a16:creationId xmlns:a16="http://schemas.microsoft.com/office/drawing/2014/main" id="{A91E13EC-64FC-4BCE-BB83-1BA7C61E240E}"/>
              </a:ext>
            </a:extLst>
          </p:cNvPr>
          <p:cNvPicPr>
            <a:picLocks noChangeAspect="1"/>
          </p:cNvPicPr>
          <p:nvPr/>
        </p:nvPicPr>
        <p:blipFill rotWithShape="1">
          <a:blip r:embed="rId8">
            <a:extLst>
              <a:ext uri="{28A0092B-C50C-407E-A947-70E740481C1C}">
                <a14:useLocalDpi xmlns:a14="http://schemas.microsoft.com/office/drawing/2010/main" val="0"/>
              </a:ext>
            </a:extLst>
          </a:blip>
          <a:srcRect l="13011" t="23182" r="80456" b="67154"/>
          <a:stretch/>
        </p:blipFill>
        <p:spPr>
          <a:xfrm rot="20935835">
            <a:off x="5528136" y="4296067"/>
            <a:ext cx="1208295" cy="1005438"/>
          </a:xfrm>
          <a:prstGeom prst="rect">
            <a:avLst/>
          </a:prstGeom>
        </p:spPr>
      </p:pic>
      <p:pic>
        <p:nvPicPr>
          <p:cNvPr id="48" name="그림 47" descr="텍스트, 전자기기이(가) 표시된 사진&#10;&#10;자동 생성된 설명">
            <a:extLst>
              <a:ext uri="{FF2B5EF4-FFF2-40B4-BE49-F238E27FC236}">
                <a16:creationId xmlns:a16="http://schemas.microsoft.com/office/drawing/2014/main" id="{76E4D003-C44A-4BCF-B00D-58E0ED256313}"/>
              </a:ext>
            </a:extLst>
          </p:cNvPr>
          <p:cNvPicPr>
            <a:picLocks noChangeAspect="1"/>
          </p:cNvPicPr>
          <p:nvPr/>
        </p:nvPicPr>
        <p:blipFill rotWithShape="1">
          <a:blip r:embed="rId9">
            <a:extLst>
              <a:ext uri="{28A0092B-C50C-407E-A947-70E740481C1C}">
                <a14:useLocalDpi xmlns:a14="http://schemas.microsoft.com/office/drawing/2010/main" val="0"/>
              </a:ext>
            </a:extLst>
          </a:blip>
          <a:srcRect l="65898" t="48889"/>
          <a:stretch/>
        </p:blipFill>
        <p:spPr>
          <a:xfrm>
            <a:off x="5287749" y="3819072"/>
            <a:ext cx="3038233" cy="3152452"/>
          </a:xfrm>
          <a:prstGeom prst="rect">
            <a:avLst/>
          </a:prstGeom>
        </p:spPr>
      </p:pic>
      <p:pic>
        <p:nvPicPr>
          <p:cNvPr id="49" name="그림 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92123" y="4270944"/>
            <a:ext cx="1658118" cy="939600"/>
          </a:xfrm>
          <a:prstGeom prst="roundRect">
            <a:avLst>
              <a:gd name="adj" fmla="val 9072"/>
            </a:avLst>
          </a:prstGeom>
          <a:ln>
            <a:solidFill>
              <a:schemeClr val="bg1">
                <a:lumMod val="50000"/>
              </a:schemeClr>
            </a:solidFill>
          </a:ln>
        </p:spPr>
      </p:pic>
    </p:spTree>
    <p:extLst>
      <p:ext uri="{BB962C8B-B14F-4D97-AF65-F5344CB8AC3E}">
        <p14:creationId xmlns:p14="http://schemas.microsoft.com/office/powerpoint/2010/main" val="26661100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ltLang="ko-KR" dirty="0"/>
              <a:t>Energy Saving</a:t>
            </a:r>
          </a:p>
        </p:txBody>
      </p:sp>
      <p:sp>
        <p:nvSpPr>
          <p:cNvPr id="3" name="Text Placeholder 2"/>
          <p:cNvSpPr>
            <a:spLocks noGrp="1"/>
          </p:cNvSpPr>
          <p:nvPr>
            <p:ph type="body" sz="quarter" idx="13"/>
          </p:nvPr>
        </p:nvSpPr>
        <p:spPr>
          <a:xfrm>
            <a:off x="4883150" y="4234766"/>
            <a:ext cx="4464050" cy="1897955"/>
          </a:xfrm>
        </p:spPr>
        <p:txBody>
          <a:bodyPr/>
          <a:lstStyle/>
          <a:p>
            <a:r>
              <a:rPr lang="en-US" altLang="ko-KR" dirty="0"/>
              <a:t>Highly Efficient  Total Heat Exchanger</a:t>
            </a:r>
          </a:p>
          <a:p>
            <a:r>
              <a:rPr lang="en-US" altLang="ko-KR" dirty="0"/>
              <a:t>LG ERV Energy Saving Technology</a:t>
            </a:r>
          </a:p>
          <a:p>
            <a:pPr marL="0" indent="0">
              <a:buNone/>
            </a:pPr>
            <a:r>
              <a:rPr lang="en-US" altLang="ko-KR" dirty="0"/>
              <a:t>     - Night Time Free Cooling</a:t>
            </a:r>
          </a:p>
          <a:p>
            <a:pPr marL="0" indent="0">
              <a:buNone/>
            </a:pPr>
            <a:r>
              <a:rPr lang="en-US" altLang="ko-KR" dirty="0"/>
              <a:t>     - CO</a:t>
            </a:r>
            <a:r>
              <a:rPr lang="en-US" altLang="ko-KR" baseline="-25000" dirty="0"/>
              <a:t>2</a:t>
            </a:r>
            <a:r>
              <a:rPr lang="en-US" altLang="ko-KR" dirty="0"/>
              <a:t> Auto Operation </a:t>
            </a:r>
          </a:p>
          <a:p>
            <a:pPr marL="0" indent="0">
              <a:buNone/>
            </a:pPr>
            <a:r>
              <a:rPr lang="en-US" altLang="ko-KR" dirty="0"/>
              <a:t>     - Seasonal Auto Operation</a:t>
            </a:r>
          </a:p>
        </p:txBody>
      </p:sp>
    </p:spTree>
    <p:extLst>
      <p:ext uri="{BB962C8B-B14F-4D97-AF65-F5344CB8AC3E}">
        <p14:creationId xmlns:p14="http://schemas.microsoft.com/office/powerpoint/2010/main" val="2064581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ext Box 5"/>
          <p:cNvSpPr txBox="1">
            <a:spLocks noChangeArrowheads="1"/>
          </p:cNvSpPr>
          <p:nvPr>
            <p:custDataLst>
              <p:tags r:id="rId1"/>
            </p:custDataLst>
          </p:nvPr>
        </p:nvSpPr>
        <p:spPr bwMode="auto">
          <a:xfrm>
            <a:off x="5234785" y="4615726"/>
            <a:ext cx="3884143" cy="461024"/>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tx1">
                    <a:lumMod val="65000"/>
                    <a:lumOff val="35000"/>
                  </a:schemeClr>
                </a:solidFill>
                <a:latin typeface="맑은 고딕" panose="020B0503020000020004" pitchFamily="50" charset="-127"/>
              </a:defRPr>
            </a:lvl1pPr>
          </a:lstStyle>
          <a:p>
            <a:pPr algn="l"/>
            <a:r>
              <a:rPr lang="en-US" altLang="ko-KR" sz="1000" dirty="0">
                <a:solidFill>
                  <a:srgbClr val="C60751"/>
                </a:solidFill>
                <a:latin typeface="Arial" panose="020B0604020202020204" pitchFamily="34" charset="0"/>
                <a:cs typeface="Arial" panose="020B0604020202020204" pitchFamily="34" charset="0"/>
              </a:rPr>
              <a:t>ERV makes inside cooler with bypass mode </a:t>
            </a:r>
            <a:br>
              <a:rPr lang="en-US" altLang="ko-KR" sz="1000" dirty="0">
                <a:solidFill>
                  <a:srgbClr val="C60751"/>
                </a:solidFill>
                <a:latin typeface="Arial" panose="020B0604020202020204" pitchFamily="34" charset="0"/>
                <a:cs typeface="Arial" panose="020B0604020202020204" pitchFamily="34" charset="0"/>
              </a:rPr>
            </a:br>
            <a:r>
              <a:rPr lang="en-US" altLang="ko-KR" sz="1000" dirty="0">
                <a:solidFill>
                  <a:srgbClr val="C60751"/>
                </a:solidFill>
                <a:latin typeface="Arial" panose="020B0604020202020204" pitchFamily="34" charset="0"/>
                <a:cs typeface="Arial" panose="020B0604020202020204" pitchFamily="34" charset="0"/>
              </a:rPr>
              <a:t>like natural ventilation.</a:t>
            </a:r>
          </a:p>
        </p:txBody>
      </p:sp>
      <p:pic>
        <p:nvPicPr>
          <p:cNvPr id="111" name="Picture 6" descr="Wife taking care of husband standing with children"/>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l="8821" t="11308" r="2639" b="10295"/>
          <a:stretch/>
        </p:blipFill>
        <p:spPr bwMode="auto">
          <a:xfrm>
            <a:off x="6722471" y="3570315"/>
            <a:ext cx="3183529" cy="187738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Nanny or mother holds little boy in childrens room. In-home babysitter. Concept of babysitting and childcare. Private kindergarten service for busy parents"/>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11085" t="23866" r="22380"/>
          <a:stretch/>
        </p:blipFill>
        <p:spPr bwMode="auto">
          <a:xfrm>
            <a:off x="85903" y="3663318"/>
            <a:ext cx="2820336" cy="2149351"/>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Cute woman meditating in lotus pose. Calm mom practices yoga, while children play and have fun around he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t="13619"/>
          <a:stretch/>
        </p:blipFill>
        <p:spPr bwMode="auto">
          <a:xfrm>
            <a:off x="3177450" y="3542136"/>
            <a:ext cx="3442578" cy="1980547"/>
          </a:xfrm>
          <a:prstGeom prst="rect">
            <a:avLst/>
          </a:prstGeom>
          <a:noFill/>
          <a:extLst>
            <a:ext uri="{909E8E84-426E-40DD-AFC4-6F175D3DCCD1}">
              <a14:hiddenFill xmlns:a14="http://schemas.microsoft.com/office/drawing/2010/main">
                <a:solidFill>
                  <a:srgbClr val="FFFFFF"/>
                </a:solidFill>
              </a14:hiddenFill>
            </a:ext>
          </a:extLst>
        </p:spPr>
      </p:pic>
      <p:sp>
        <p:nvSpPr>
          <p:cNvPr id="114" name="텍스트 개체 틀 1"/>
          <p:cNvSpPr>
            <a:spLocks noGrp="1"/>
          </p:cNvSpPr>
          <p:nvPr>
            <p:ph type="body" sz="quarter" idx="19"/>
          </p:nvPr>
        </p:nvSpPr>
        <p:spPr>
          <a:xfrm>
            <a:off x="276743" y="164293"/>
            <a:ext cx="7410990" cy="369332"/>
          </a:xfrm>
        </p:spPr>
        <p:txBody>
          <a:bodyPr/>
          <a:lstStyle/>
          <a:p>
            <a:r>
              <a:rPr lang="en-US" altLang="ko-KR" dirty="0"/>
              <a:t>Night Time Free Cooling - </a:t>
            </a:r>
            <a:r>
              <a:rPr lang="en-US" altLang="ko-KR" sz="1600" dirty="0">
                <a:solidFill>
                  <a:prstClr val="black"/>
                </a:solidFill>
              </a:rPr>
              <a:t>Energy Saving Technology</a:t>
            </a:r>
            <a:endParaRPr lang="en-US" altLang="ko-KR" dirty="0"/>
          </a:p>
        </p:txBody>
      </p:sp>
      <p:sp>
        <p:nvSpPr>
          <p:cNvPr id="115" name="텍스트 개체 틀 5"/>
          <p:cNvSpPr>
            <a:spLocks noGrp="1"/>
          </p:cNvSpPr>
          <p:nvPr>
            <p:ph type="body" sz="quarter" idx="20"/>
          </p:nvPr>
        </p:nvSpPr>
        <p:spPr>
          <a:xfrm>
            <a:off x="6330950" y="266849"/>
            <a:ext cx="3302000" cy="246221"/>
          </a:xfrm>
        </p:spPr>
        <p:txBody>
          <a:bodyPr/>
          <a:lstStyle/>
          <a:p>
            <a:r>
              <a:rPr lang="en-US" altLang="ko-KR" dirty="0"/>
              <a:t>Energy Saving</a:t>
            </a:r>
          </a:p>
        </p:txBody>
      </p:sp>
      <p:sp>
        <p:nvSpPr>
          <p:cNvPr id="116" name="텍스트 개체 틀 6"/>
          <p:cNvSpPr>
            <a:spLocks noGrp="1"/>
          </p:cNvSpPr>
          <p:nvPr>
            <p:ph type="body" sz="quarter" idx="21"/>
          </p:nvPr>
        </p:nvSpPr>
        <p:spPr>
          <a:xfrm>
            <a:off x="278422" y="748127"/>
            <a:ext cx="9342438" cy="492443"/>
          </a:xfrm>
        </p:spPr>
        <p:txBody>
          <a:bodyPr/>
          <a:lstStyle/>
          <a:p>
            <a:r>
              <a:rPr lang="en-US" altLang="ko-KR" dirty="0"/>
              <a:t>Discharges the indoor heat at night in summer and supplies cool outdoor air indoors. So energy saving can result.</a:t>
            </a:r>
          </a:p>
        </p:txBody>
      </p:sp>
      <p:sp>
        <p:nvSpPr>
          <p:cNvPr id="117" name="직사각형 116"/>
          <p:cNvSpPr/>
          <p:nvPr/>
        </p:nvSpPr>
        <p:spPr>
          <a:xfrm>
            <a:off x="4114" y="5597928"/>
            <a:ext cx="9905657" cy="235380"/>
          </a:xfrm>
          <a:prstGeom prst="rect">
            <a:avLst/>
          </a:prstGeom>
          <a:blipFill>
            <a:blip r:embed="rId14">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18" name="Text Box 5"/>
          <p:cNvSpPr txBox="1">
            <a:spLocks noChangeArrowheads="1"/>
          </p:cNvSpPr>
          <p:nvPr>
            <p:custDataLst>
              <p:tags r:id="rId2"/>
            </p:custDataLst>
          </p:nvPr>
        </p:nvSpPr>
        <p:spPr bwMode="auto">
          <a:xfrm>
            <a:off x="1186114" y="5576100"/>
            <a:ext cx="783576" cy="278538"/>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1100" b="1" spc="-80">
                <a:solidFill>
                  <a:schemeClr val="tx1">
                    <a:lumMod val="65000"/>
                    <a:lumOff val="35000"/>
                  </a:schemeClr>
                </a:solidFill>
                <a:latin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Afternoon</a:t>
            </a:r>
          </a:p>
        </p:txBody>
      </p:sp>
      <p:sp>
        <p:nvSpPr>
          <p:cNvPr id="119" name="Text Box 5"/>
          <p:cNvSpPr txBox="1">
            <a:spLocks noChangeArrowheads="1"/>
          </p:cNvSpPr>
          <p:nvPr>
            <p:custDataLst>
              <p:tags r:id="rId3"/>
            </p:custDataLst>
          </p:nvPr>
        </p:nvSpPr>
        <p:spPr bwMode="auto">
          <a:xfrm>
            <a:off x="7920858" y="5576100"/>
            <a:ext cx="797844" cy="278538"/>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1100" b="1" spc="-80">
                <a:solidFill>
                  <a:schemeClr val="tx1">
                    <a:lumMod val="65000"/>
                    <a:lumOff val="35000"/>
                  </a:schemeClr>
                </a:solidFill>
                <a:latin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Morning</a:t>
            </a:r>
          </a:p>
        </p:txBody>
      </p:sp>
      <p:sp>
        <p:nvSpPr>
          <p:cNvPr id="121" name="Text Box 5"/>
          <p:cNvSpPr txBox="1">
            <a:spLocks noChangeArrowheads="1"/>
          </p:cNvSpPr>
          <p:nvPr>
            <p:custDataLst>
              <p:tags r:id="rId4"/>
            </p:custDataLst>
          </p:nvPr>
        </p:nvSpPr>
        <p:spPr bwMode="auto">
          <a:xfrm>
            <a:off x="9267725" y="5595101"/>
            <a:ext cx="797844" cy="244682"/>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1000" b="1" spc="-80">
                <a:solidFill>
                  <a:schemeClr val="tx1">
                    <a:lumMod val="65000"/>
                    <a:lumOff val="35000"/>
                  </a:schemeClr>
                </a:solidFill>
                <a:latin typeface="맑은 고딕" panose="020B0503020000020004" pitchFamily="50" charset="-127"/>
              </a:defRPr>
            </a:lvl1pPr>
          </a:lstStyle>
          <a:p>
            <a:r>
              <a:rPr lang="en-US" altLang="ko-KR" sz="900" b="0" dirty="0">
                <a:solidFill>
                  <a:prstClr val="black">
                    <a:lumMod val="65000"/>
                    <a:lumOff val="35000"/>
                  </a:prstClr>
                </a:solidFill>
                <a:latin typeface="Arial" panose="020B0604020202020204" pitchFamily="34" charset="0"/>
                <a:cs typeface="Arial" panose="020B0604020202020204" pitchFamily="34" charset="0"/>
              </a:rPr>
              <a:t>Time</a:t>
            </a:r>
          </a:p>
        </p:txBody>
      </p:sp>
      <p:sp>
        <p:nvSpPr>
          <p:cNvPr id="122" name="직사각형 121"/>
          <p:cNvSpPr/>
          <p:nvPr/>
        </p:nvSpPr>
        <p:spPr>
          <a:xfrm>
            <a:off x="3309622" y="1173141"/>
            <a:ext cx="3278060" cy="1045366"/>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42" name="그룹 141"/>
          <p:cNvGrpSpPr/>
          <p:nvPr/>
        </p:nvGrpSpPr>
        <p:grpSpPr>
          <a:xfrm>
            <a:off x="-9518" y="1173141"/>
            <a:ext cx="9915518" cy="1072306"/>
            <a:chOff x="0" y="1127891"/>
            <a:chExt cx="10606798" cy="1370069"/>
          </a:xfrm>
        </p:grpSpPr>
        <p:pic>
          <p:nvPicPr>
            <p:cNvPr id="143" name="그림 142"/>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511300" y="1127891"/>
              <a:ext cx="7705335" cy="1268934"/>
            </a:xfrm>
            <a:prstGeom prst="rect">
              <a:avLst/>
            </a:prstGeom>
          </p:spPr>
        </p:pic>
        <p:pic>
          <p:nvPicPr>
            <p:cNvPr id="144" name="그림 143"/>
            <p:cNvPicPr>
              <a:picLocks noChangeAspect="1"/>
            </p:cNvPicPr>
            <p:nvPr/>
          </p:nvPicPr>
          <p:blipFill rotWithShape="1">
            <a:blip r:embed="rId16"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0" y="1805741"/>
              <a:ext cx="10606798" cy="692219"/>
            </a:xfrm>
            <a:prstGeom prst="rect">
              <a:avLst/>
            </a:prstGeom>
          </p:spPr>
        </p:pic>
      </p:grpSp>
      <p:sp>
        <p:nvSpPr>
          <p:cNvPr id="145" name="직사각형 144"/>
          <p:cNvSpPr/>
          <p:nvPr/>
        </p:nvSpPr>
        <p:spPr>
          <a:xfrm rot="5400000">
            <a:off x="1388309" y="3587902"/>
            <a:ext cx="2256670" cy="1635595"/>
          </a:xfrm>
          <a:prstGeom prst="rect">
            <a:avLst/>
          </a:prstGeom>
          <a:gradFill flip="none" rotWithShape="1">
            <a:gsLst>
              <a:gs pos="0">
                <a:srgbClr val="C60751">
                  <a:alpha val="0"/>
                </a:srgbClr>
              </a:gs>
              <a:gs pos="52000">
                <a:srgbClr val="C60751">
                  <a:alpha val="4000"/>
                </a:srgbClr>
              </a:gs>
              <a:gs pos="100000">
                <a:srgbClr val="C60751">
                  <a:alpha val="21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6" name="직사각형 145"/>
          <p:cNvSpPr/>
          <p:nvPr/>
        </p:nvSpPr>
        <p:spPr>
          <a:xfrm rot="16200000">
            <a:off x="2999881" y="3623882"/>
            <a:ext cx="2282986" cy="1635595"/>
          </a:xfrm>
          <a:prstGeom prst="rect">
            <a:avLst/>
          </a:prstGeom>
          <a:gradFill flip="none" rotWithShape="1">
            <a:gsLst>
              <a:gs pos="0">
                <a:srgbClr val="C60751">
                  <a:alpha val="0"/>
                </a:srgbClr>
              </a:gs>
              <a:gs pos="52000">
                <a:srgbClr val="C60751">
                  <a:alpha val="0"/>
                </a:srgbClr>
              </a:gs>
              <a:gs pos="100000">
                <a:srgbClr val="C60751">
                  <a:alpha val="13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7" name="직사각형 146"/>
          <p:cNvSpPr/>
          <p:nvPr/>
        </p:nvSpPr>
        <p:spPr>
          <a:xfrm rot="16200000">
            <a:off x="6357858" y="3611117"/>
            <a:ext cx="2261277" cy="1635595"/>
          </a:xfrm>
          <a:prstGeom prst="rect">
            <a:avLst/>
          </a:prstGeom>
          <a:gradFill flip="none" rotWithShape="1">
            <a:gsLst>
              <a:gs pos="0">
                <a:srgbClr val="00B0F0">
                  <a:alpha val="0"/>
                </a:srgbClr>
              </a:gs>
              <a:gs pos="52000">
                <a:srgbClr val="00B0F0">
                  <a:alpha val="18000"/>
                </a:srgbClr>
              </a:gs>
              <a:gs pos="100000">
                <a:srgbClr val="0070C0">
                  <a:alpha val="39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pic>
        <p:nvPicPr>
          <p:cNvPr id="148" name="Picture 2" descr="C:\Users\C304\Downloads\00-주문제작\07-LG AE 2015RAC\이미지\0-3단락이미지\바람.png"/>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4948652" y="3554818"/>
            <a:ext cx="1645237" cy="1317778"/>
          </a:xfrm>
          <a:prstGeom prst="rect">
            <a:avLst/>
          </a:prstGeom>
          <a:noFill/>
        </p:spPr>
      </p:pic>
      <p:grpSp>
        <p:nvGrpSpPr>
          <p:cNvPr id="149" name="그룹 148"/>
          <p:cNvGrpSpPr/>
          <p:nvPr/>
        </p:nvGrpSpPr>
        <p:grpSpPr>
          <a:xfrm>
            <a:off x="849574" y="4915481"/>
            <a:ext cx="90896" cy="155232"/>
            <a:chOff x="909348" y="5656904"/>
            <a:chExt cx="98106" cy="171114"/>
          </a:xfrm>
        </p:grpSpPr>
        <p:grpSp>
          <p:nvGrpSpPr>
            <p:cNvPr id="150" name="그룹 149"/>
            <p:cNvGrpSpPr/>
            <p:nvPr/>
          </p:nvGrpSpPr>
          <p:grpSpPr>
            <a:xfrm rot="4363443">
              <a:off x="850221" y="5730318"/>
              <a:ext cx="156827" cy="38574"/>
              <a:chOff x="5095875" y="737828"/>
              <a:chExt cx="408279" cy="100423"/>
            </a:xfrm>
          </p:grpSpPr>
          <p:sp>
            <p:nvSpPr>
              <p:cNvPr id="154" name="자유형 153"/>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5" name="자유형 154"/>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51" name="그룹 150"/>
            <p:cNvGrpSpPr/>
            <p:nvPr/>
          </p:nvGrpSpPr>
          <p:grpSpPr>
            <a:xfrm rot="5622373">
              <a:off x="909753" y="5716031"/>
              <a:ext cx="156827" cy="38574"/>
              <a:chOff x="5095875" y="737828"/>
              <a:chExt cx="408279" cy="100423"/>
            </a:xfrm>
          </p:grpSpPr>
          <p:sp>
            <p:nvSpPr>
              <p:cNvPr id="152" name="자유형 151"/>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3" name="자유형 152"/>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grpSp>
        <p:nvGrpSpPr>
          <p:cNvPr id="156" name="그룹 155"/>
          <p:cNvGrpSpPr/>
          <p:nvPr/>
        </p:nvGrpSpPr>
        <p:grpSpPr>
          <a:xfrm flipH="1">
            <a:off x="1119638" y="4909740"/>
            <a:ext cx="90896" cy="155232"/>
            <a:chOff x="909348" y="5656904"/>
            <a:chExt cx="98106" cy="171114"/>
          </a:xfrm>
        </p:grpSpPr>
        <p:grpSp>
          <p:nvGrpSpPr>
            <p:cNvPr id="157" name="그룹 156"/>
            <p:cNvGrpSpPr/>
            <p:nvPr/>
          </p:nvGrpSpPr>
          <p:grpSpPr>
            <a:xfrm rot="4363443">
              <a:off x="850221" y="5730318"/>
              <a:ext cx="156827" cy="38574"/>
              <a:chOff x="5095875" y="737828"/>
              <a:chExt cx="408279" cy="100423"/>
            </a:xfrm>
          </p:grpSpPr>
          <p:sp>
            <p:nvSpPr>
              <p:cNvPr id="161" name="자유형 160"/>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2" name="자유형 161"/>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58" name="그룹 157"/>
            <p:cNvGrpSpPr/>
            <p:nvPr/>
          </p:nvGrpSpPr>
          <p:grpSpPr>
            <a:xfrm rot="5622373">
              <a:off x="909753" y="5716031"/>
              <a:ext cx="156827" cy="38574"/>
              <a:chOff x="5095875" y="737828"/>
              <a:chExt cx="408279" cy="100423"/>
            </a:xfrm>
          </p:grpSpPr>
          <p:sp>
            <p:nvSpPr>
              <p:cNvPr id="159" name="자유형 158"/>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0" name="자유형 159"/>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grpSp>
        <p:nvGrpSpPr>
          <p:cNvPr id="163" name="그룹 162"/>
          <p:cNvGrpSpPr/>
          <p:nvPr/>
        </p:nvGrpSpPr>
        <p:grpSpPr>
          <a:xfrm>
            <a:off x="4070039" y="5093480"/>
            <a:ext cx="90896" cy="155232"/>
            <a:chOff x="909348" y="5656904"/>
            <a:chExt cx="98106" cy="171114"/>
          </a:xfrm>
        </p:grpSpPr>
        <p:grpSp>
          <p:nvGrpSpPr>
            <p:cNvPr id="164" name="그룹 163"/>
            <p:cNvGrpSpPr/>
            <p:nvPr/>
          </p:nvGrpSpPr>
          <p:grpSpPr>
            <a:xfrm rot="4363443">
              <a:off x="850221" y="5730318"/>
              <a:ext cx="156827" cy="38574"/>
              <a:chOff x="5095875" y="737828"/>
              <a:chExt cx="408279" cy="100423"/>
            </a:xfrm>
          </p:grpSpPr>
          <p:sp>
            <p:nvSpPr>
              <p:cNvPr id="168" name="자유형 167"/>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9" name="자유형 168"/>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65" name="그룹 164"/>
            <p:cNvGrpSpPr/>
            <p:nvPr/>
          </p:nvGrpSpPr>
          <p:grpSpPr>
            <a:xfrm rot="5622373">
              <a:off x="909753" y="5716031"/>
              <a:ext cx="156827" cy="38574"/>
              <a:chOff x="5095875" y="737828"/>
              <a:chExt cx="408279" cy="100423"/>
            </a:xfrm>
          </p:grpSpPr>
          <p:sp>
            <p:nvSpPr>
              <p:cNvPr id="166" name="자유형 165"/>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7" name="자유형 166"/>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grpSp>
        <p:nvGrpSpPr>
          <p:cNvPr id="170" name="그룹 169"/>
          <p:cNvGrpSpPr/>
          <p:nvPr/>
        </p:nvGrpSpPr>
        <p:grpSpPr>
          <a:xfrm flipH="1">
            <a:off x="4444217" y="5090456"/>
            <a:ext cx="90896" cy="155232"/>
            <a:chOff x="909348" y="5656904"/>
            <a:chExt cx="98106" cy="171114"/>
          </a:xfrm>
        </p:grpSpPr>
        <p:grpSp>
          <p:nvGrpSpPr>
            <p:cNvPr id="171" name="그룹 170"/>
            <p:cNvGrpSpPr/>
            <p:nvPr/>
          </p:nvGrpSpPr>
          <p:grpSpPr>
            <a:xfrm rot="4363443">
              <a:off x="850221" y="5730318"/>
              <a:ext cx="156827" cy="38574"/>
              <a:chOff x="5095875" y="737828"/>
              <a:chExt cx="408279" cy="100423"/>
            </a:xfrm>
          </p:grpSpPr>
          <p:sp>
            <p:nvSpPr>
              <p:cNvPr id="175" name="자유형 174"/>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76" name="자유형 175"/>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72" name="그룹 171"/>
            <p:cNvGrpSpPr/>
            <p:nvPr/>
          </p:nvGrpSpPr>
          <p:grpSpPr>
            <a:xfrm rot="5622373">
              <a:off x="909753" y="5716031"/>
              <a:ext cx="156827" cy="38574"/>
              <a:chOff x="5095875" y="737828"/>
              <a:chExt cx="408279" cy="100423"/>
            </a:xfrm>
          </p:grpSpPr>
          <p:sp>
            <p:nvSpPr>
              <p:cNvPr id="173" name="자유형 172"/>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74" name="자유형 173"/>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grpSp>
        <p:nvGrpSpPr>
          <p:cNvPr id="177" name="그룹 176"/>
          <p:cNvGrpSpPr/>
          <p:nvPr/>
        </p:nvGrpSpPr>
        <p:grpSpPr>
          <a:xfrm>
            <a:off x="7524063" y="4894721"/>
            <a:ext cx="90896" cy="155232"/>
            <a:chOff x="909348" y="5656904"/>
            <a:chExt cx="98106" cy="171114"/>
          </a:xfrm>
        </p:grpSpPr>
        <p:grpSp>
          <p:nvGrpSpPr>
            <p:cNvPr id="178" name="그룹 177"/>
            <p:cNvGrpSpPr/>
            <p:nvPr/>
          </p:nvGrpSpPr>
          <p:grpSpPr>
            <a:xfrm rot="4363443">
              <a:off x="850221" y="5730318"/>
              <a:ext cx="156827" cy="38574"/>
              <a:chOff x="5095875" y="737828"/>
              <a:chExt cx="408279" cy="100423"/>
            </a:xfrm>
          </p:grpSpPr>
          <p:sp>
            <p:nvSpPr>
              <p:cNvPr id="182" name="자유형 181"/>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83" name="자유형 182"/>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79" name="그룹 178"/>
            <p:cNvGrpSpPr/>
            <p:nvPr/>
          </p:nvGrpSpPr>
          <p:grpSpPr>
            <a:xfrm rot="5622373">
              <a:off x="909753" y="5716031"/>
              <a:ext cx="156827" cy="38574"/>
              <a:chOff x="5095875" y="737828"/>
              <a:chExt cx="408279" cy="100423"/>
            </a:xfrm>
          </p:grpSpPr>
          <p:sp>
            <p:nvSpPr>
              <p:cNvPr id="180" name="자유형 179"/>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81" name="자유형 180"/>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grpSp>
        <p:nvGrpSpPr>
          <p:cNvPr id="184" name="그룹 183"/>
          <p:cNvGrpSpPr/>
          <p:nvPr/>
        </p:nvGrpSpPr>
        <p:grpSpPr>
          <a:xfrm flipH="1">
            <a:off x="7728801" y="4891696"/>
            <a:ext cx="90896" cy="155232"/>
            <a:chOff x="909348" y="5656904"/>
            <a:chExt cx="98106" cy="171114"/>
          </a:xfrm>
        </p:grpSpPr>
        <p:grpSp>
          <p:nvGrpSpPr>
            <p:cNvPr id="185" name="그룹 184"/>
            <p:cNvGrpSpPr/>
            <p:nvPr/>
          </p:nvGrpSpPr>
          <p:grpSpPr>
            <a:xfrm rot="4363443">
              <a:off x="850221" y="5730318"/>
              <a:ext cx="156827" cy="38574"/>
              <a:chOff x="5095875" y="737828"/>
              <a:chExt cx="408279" cy="100423"/>
            </a:xfrm>
          </p:grpSpPr>
          <p:sp>
            <p:nvSpPr>
              <p:cNvPr id="189" name="자유형 188"/>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90" name="자유형 189"/>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86" name="그룹 185"/>
            <p:cNvGrpSpPr/>
            <p:nvPr/>
          </p:nvGrpSpPr>
          <p:grpSpPr>
            <a:xfrm rot="5622373">
              <a:off x="909753" y="5716031"/>
              <a:ext cx="156827" cy="38574"/>
              <a:chOff x="5095875" y="737828"/>
              <a:chExt cx="408279" cy="100423"/>
            </a:xfrm>
          </p:grpSpPr>
          <p:sp>
            <p:nvSpPr>
              <p:cNvPr id="187" name="자유형 186"/>
              <p:cNvSpPr/>
              <p:nvPr/>
            </p:nvSpPr>
            <p:spPr>
              <a:xfrm>
                <a:off x="5095875" y="776377"/>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88" name="자유형 187"/>
              <p:cNvSpPr/>
              <p:nvPr/>
            </p:nvSpPr>
            <p:spPr>
              <a:xfrm>
                <a:off x="5095875" y="737828"/>
                <a:ext cx="408279" cy="61874"/>
              </a:xfrm>
              <a:custGeom>
                <a:avLst/>
                <a:gdLst>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38125"/>
                  <a:gd name="connsiteX1" fmla="*/ 400050 w 1571625"/>
                  <a:gd name="connsiteY1" fmla="*/ 228600 h 238125"/>
                  <a:gd name="connsiteX2" fmla="*/ 781050 w 1571625"/>
                  <a:gd name="connsiteY2" fmla="*/ 19050 h 238125"/>
                  <a:gd name="connsiteX3" fmla="*/ 1200150 w 1571625"/>
                  <a:gd name="connsiteY3" fmla="*/ 238125 h 238125"/>
                  <a:gd name="connsiteX4" fmla="*/ 1571625 w 1571625"/>
                  <a:gd name="connsiteY4" fmla="*/ 0 h 238125"/>
                  <a:gd name="connsiteX0" fmla="*/ 0 w 1571625"/>
                  <a:gd name="connsiteY0" fmla="*/ 19050 h 240367"/>
                  <a:gd name="connsiteX1" fmla="*/ 400050 w 1571625"/>
                  <a:gd name="connsiteY1" fmla="*/ 228600 h 240367"/>
                  <a:gd name="connsiteX2" fmla="*/ 781050 w 1571625"/>
                  <a:gd name="connsiteY2" fmla="*/ 19050 h 240367"/>
                  <a:gd name="connsiteX3" fmla="*/ 1200150 w 1571625"/>
                  <a:gd name="connsiteY3" fmla="*/ 238125 h 240367"/>
                  <a:gd name="connsiteX4" fmla="*/ 1571625 w 1571625"/>
                  <a:gd name="connsiteY4" fmla="*/ 0 h 240367"/>
                  <a:gd name="connsiteX0" fmla="*/ 0 w 1571625"/>
                  <a:gd name="connsiteY0" fmla="*/ 19050 h 238202"/>
                  <a:gd name="connsiteX1" fmla="*/ 400050 w 1571625"/>
                  <a:gd name="connsiteY1" fmla="*/ 228600 h 238202"/>
                  <a:gd name="connsiteX2" fmla="*/ 781050 w 1571625"/>
                  <a:gd name="connsiteY2" fmla="*/ 19050 h 238202"/>
                  <a:gd name="connsiteX3" fmla="*/ 1200150 w 1571625"/>
                  <a:gd name="connsiteY3" fmla="*/ 238125 h 238202"/>
                  <a:gd name="connsiteX4" fmla="*/ 1571625 w 1571625"/>
                  <a:gd name="connsiteY4" fmla="*/ 0 h 238202"/>
                  <a:gd name="connsiteX0" fmla="*/ 0 w 1571625"/>
                  <a:gd name="connsiteY0" fmla="*/ 19050 h 238177"/>
                  <a:gd name="connsiteX1" fmla="*/ 400050 w 1571625"/>
                  <a:gd name="connsiteY1" fmla="*/ 228600 h 238177"/>
                  <a:gd name="connsiteX2" fmla="*/ 781050 w 1571625"/>
                  <a:gd name="connsiteY2" fmla="*/ 19050 h 238177"/>
                  <a:gd name="connsiteX3" fmla="*/ 1200150 w 1571625"/>
                  <a:gd name="connsiteY3" fmla="*/ 238125 h 238177"/>
                  <a:gd name="connsiteX4" fmla="*/ 1571625 w 1571625"/>
                  <a:gd name="connsiteY4" fmla="*/ 0 h 238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238177">
                    <a:moveTo>
                      <a:pt x="0" y="19050"/>
                    </a:moveTo>
                    <a:cubicBezTo>
                      <a:pt x="133350" y="88900"/>
                      <a:pt x="171450" y="196850"/>
                      <a:pt x="400050" y="228600"/>
                    </a:cubicBezTo>
                    <a:cubicBezTo>
                      <a:pt x="584200" y="206375"/>
                      <a:pt x="636127" y="21387"/>
                      <a:pt x="781050" y="19050"/>
                    </a:cubicBezTo>
                    <a:cubicBezTo>
                      <a:pt x="977900" y="15875"/>
                      <a:pt x="990879" y="242112"/>
                      <a:pt x="1200150" y="238125"/>
                    </a:cubicBezTo>
                    <a:cubicBezTo>
                      <a:pt x="1411845" y="234092"/>
                      <a:pt x="1447800" y="79375"/>
                      <a:pt x="1571625" y="0"/>
                    </a:cubicBezTo>
                  </a:path>
                </a:pathLst>
              </a:custGeom>
              <a:noFill/>
              <a:ln w="31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cxnSp>
        <p:nvCxnSpPr>
          <p:cNvPr id="191" name="직선 연결선 190"/>
          <p:cNvCxnSpPr/>
          <p:nvPr/>
        </p:nvCxnSpPr>
        <p:spPr>
          <a:xfrm>
            <a:off x="4113" y="4291396"/>
            <a:ext cx="9921512" cy="0"/>
          </a:xfrm>
          <a:prstGeom prst="line">
            <a:avLst/>
          </a:prstGeom>
          <a:noFill/>
          <a:ln w="19050">
            <a:solidFill>
              <a:schemeClr val="bg1">
                <a:lumMod val="5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92" name="자유형 191"/>
          <p:cNvSpPr/>
          <p:nvPr/>
        </p:nvSpPr>
        <p:spPr>
          <a:xfrm>
            <a:off x="4115" y="3583039"/>
            <a:ext cx="9921509" cy="952437"/>
          </a:xfrm>
          <a:custGeom>
            <a:avLst/>
            <a:gdLst>
              <a:gd name="connsiteX0" fmla="*/ 0 w 6699380"/>
              <a:gd name="connsiteY0" fmla="*/ 0 h 672467"/>
              <a:gd name="connsiteX1" fmla="*/ 3666931 w 6699380"/>
              <a:gd name="connsiteY1" fmla="*/ 559837 h 672467"/>
              <a:gd name="connsiteX2" fmla="*/ 4991878 w 6699380"/>
              <a:gd name="connsiteY2" fmla="*/ 662474 h 672467"/>
              <a:gd name="connsiteX3" fmla="*/ 6699380 w 6699380"/>
              <a:gd name="connsiteY3" fmla="*/ 410547 h 672467"/>
            </a:gdLst>
            <a:ahLst/>
            <a:cxnLst>
              <a:cxn ang="0">
                <a:pos x="connsiteX0" y="connsiteY0"/>
              </a:cxn>
              <a:cxn ang="0">
                <a:pos x="connsiteX1" y="connsiteY1"/>
              </a:cxn>
              <a:cxn ang="0">
                <a:pos x="connsiteX2" y="connsiteY2"/>
              </a:cxn>
              <a:cxn ang="0">
                <a:pos x="connsiteX3" y="connsiteY3"/>
              </a:cxn>
            </a:cxnLst>
            <a:rect l="l" t="t" r="r" b="b"/>
            <a:pathLst>
              <a:path w="6699380" h="672467">
                <a:moveTo>
                  <a:pt x="0" y="0"/>
                </a:moveTo>
                <a:lnTo>
                  <a:pt x="3666931" y="559837"/>
                </a:lnTo>
                <a:cubicBezTo>
                  <a:pt x="4498911" y="670249"/>
                  <a:pt x="4486470" y="687356"/>
                  <a:pt x="4991878" y="662474"/>
                </a:cubicBezTo>
                <a:cubicBezTo>
                  <a:pt x="5497286" y="637592"/>
                  <a:pt x="6341707" y="424543"/>
                  <a:pt x="6699380" y="410547"/>
                </a:cubicBezTo>
              </a:path>
            </a:pathLst>
          </a:custGeom>
          <a:noFill/>
          <a:ln w="1905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93" name="아래쪽 화살표 192"/>
          <p:cNvSpPr/>
          <p:nvPr/>
        </p:nvSpPr>
        <p:spPr>
          <a:xfrm>
            <a:off x="3540019" y="3804472"/>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97" name="아래쪽 화살표 196"/>
          <p:cNvSpPr/>
          <p:nvPr/>
        </p:nvSpPr>
        <p:spPr>
          <a:xfrm>
            <a:off x="4934294" y="4007557"/>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98" name="아래쪽 화살표 197"/>
          <p:cNvSpPr/>
          <p:nvPr/>
        </p:nvSpPr>
        <p:spPr>
          <a:xfrm>
            <a:off x="5377819" y="4085142"/>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99" name="모서리가 둥근 직사각형 198"/>
          <p:cNvSpPr/>
          <p:nvPr/>
        </p:nvSpPr>
        <p:spPr>
          <a:xfrm>
            <a:off x="140356" y="4007557"/>
            <a:ext cx="1151467" cy="222036"/>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00" name="Text Box 5"/>
          <p:cNvSpPr txBox="1">
            <a:spLocks noChangeArrowheads="1"/>
          </p:cNvSpPr>
          <p:nvPr>
            <p:custDataLst>
              <p:tags r:id="rId5"/>
            </p:custDataLst>
          </p:nvPr>
        </p:nvSpPr>
        <p:spPr bwMode="auto">
          <a:xfrm>
            <a:off x="61587" y="3985144"/>
            <a:ext cx="1301459" cy="2585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bg1"/>
                </a:solidFill>
                <a:latin typeface="맑은 고딕" panose="020B0503020000020004" pitchFamily="50" charset="-127"/>
              </a:defRPr>
            </a:lvl1pPr>
          </a:lstStyle>
          <a:p>
            <a:r>
              <a:rPr lang="en-US" altLang="ko-KR" dirty="0">
                <a:solidFill>
                  <a:prstClr val="white"/>
                </a:solidFill>
                <a:latin typeface="Arial" panose="020B0604020202020204" pitchFamily="34" charset="0"/>
                <a:cs typeface="Arial" panose="020B0604020202020204" pitchFamily="34" charset="0"/>
              </a:rPr>
              <a:t>Set Temp.</a:t>
            </a:r>
            <a:endParaRPr lang="ko-KR" altLang="en-US" dirty="0">
              <a:solidFill>
                <a:prstClr val="white"/>
              </a:solidFill>
              <a:latin typeface="Arial" panose="020B0604020202020204" pitchFamily="34" charset="0"/>
              <a:cs typeface="Arial" panose="020B0604020202020204" pitchFamily="34" charset="0"/>
            </a:endParaRPr>
          </a:p>
        </p:txBody>
      </p:sp>
      <p:sp>
        <p:nvSpPr>
          <p:cNvPr id="201" name="이등변 삼각형 200"/>
          <p:cNvSpPr/>
          <p:nvPr/>
        </p:nvSpPr>
        <p:spPr>
          <a:xfrm rot="10800000">
            <a:off x="652525" y="4230005"/>
            <a:ext cx="127130" cy="73130"/>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02" name="직사각형 201"/>
          <p:cNvSpPr/>
          <p:nvPr/>
        </p:nvSpPr>
        <p:spPr>
          <a:xfrm>
            <a:off x="5159499" y="4687734"/>
            <a:ext cx="42359" cy="349711"/>
          </a:xfrm>
          <a:prstGeom prst="rect">
            <a:avLst/>
          </a:prstGeom>
          <a:solidFill>
            <a:srgbClr val="C60751"/>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03" name="TextBox 202"/>
          <p:cNvSpPr txBox="1"/>
          <p:nvPr/>
        </p:nvSpPr>
        <p:spPr>
          <a:xfrm>
            <a:off x="809208" y="1267087"/>
            <a:ext cx="1256016"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110000"/>
              </a:lnSpc>
            </a:pPr>
            <a:r>
              <a:rPr lang="en-US" altLang="ko-KR" b="0" spc="0" dirty="0">
                <a:solidFill>
                  <a:prstClr val="black"/>
                </a:solidFill>
                <a:latin typeface="Arial" panose="020B0604020202020204" pitchFamily="34" charset="0"/>
                <a:cs typeface="Arial" panose="020B0604020202020204" pitchFamily="34" charset="0"/>
              </a:rPr>
              <a:t>Outdoor temperature at night is getting low</a:t>
            </a:r>
            <a:endParaRPr lang="ko-KR" altLang="en-US" b="0" spc="0" dirty="0">
              <a:solidFill>
                <a:prstClr val="black"/>
              </a:solidFill>
              <a:latin typeface="Arial" panose="020B0604020202020204" pitchFamily="34" charset="0"/>
              <a:cs typeface="Arial" panose="020B0604020202020204" pitchFamily="34" charset="0"/>
            </a:endParaRPr>
          </a:p>
        </p:txBody>
      </p:sp>
      <p:sp>
        <p:nvSpPr>
          <p:cNvPr id="204" name="TextBox 203"/>
          <p:cNvSpPr txBox="1"/>
          <p:nvPr/>
        </p:nvSpPr>
        <p:spPr>
          <a:xfrm>
            <a:off x="3830789" y="1267087"/>
            <a:ext cx="2375404"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110000"/>
              </a:lnSpc>
            </a:pPr>
            <a:r>
              <a:rPr lang="en-US" altLang="ko-KR" b="0" spc="0" dirty="0">
                <a:solidFill>
                  <a:prstClr val="black"/>
                </a:solidFill>
                <a:latin typeface="Arial" panose="020B0604020202020204" pitchFamily="34" charset="0"/>
                <a:cs typeface="Arial" panose="020B0604020202020204" pitchFamily="34" charset="0"/>
              </a:rPr>
              <a:t>ERV is turned on automatically</a:t>
            </a:r>
            <a:br>
              <a:rPr lang="en-US" altLang="ko-KR" b="0" spc="0" dirty="0">
                <a:solidFill>
                  <a:prstClr val="black"/>
                </a:solidFill>
                <a:latin typeface="Arial" panose="020B0604020202020204" pitchFamily="34" charset="0"/>
                <a:cs typeface="Arial" panose="020B0604020202020204" pitchFamily="34" charset="0"/>
              </a:rPr>
            </a:br>
            <a:r>
              <a:rPr lang="en-US" altLang="ko-KR" b="0" spc="0" dirty="0">
                <a:solidFill>
                  <a:prstClr val="black"/>
                </a:solidFill>
                <a:latin typeface="Arial" panose="020B0604020202020204" pitchFamily="34" charset="0"/>
                <a:cs typeface="Arial" panose="020B0604020202020204" pitchFamily="34" charset="0"/>
              </a:rPr>
              <a:t>when the outside is cooler than inside.</a:t>
            </a:r>
          </a:p>
        </p:txBody>
      </p:sp>
      <p:sp>
        <p:nvSpPr>
          <p:cNvPr id="205" name="TextBox 204"/>
          <p:cNvSpPr txBox="1"/>
          <p:nvPr/>
        </p:nvSpPr>
        <p:spPr>
          <a:xfrm>
            <a:off x="6980446" y="1267087"/>
            <a:ext cx="2555406"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110000"/>
              </a:lnSpc>
            </a:pPr>
            <a:r>
              <a:rPr lang="en-US" altLang="ko-KR" b="0" spc="0" dirty="0">
                <a:solidFill>
                  <a:prstClr val="black"/>
                </a:solidFill>
                <a:latin typeface="Arial" panose="020B0604020202020204" pitchFamily="34" charset="0"/>
                <a:cs typeface="Arial" panose="020B0604020202020204" pitchFamily="34" charset="0"/>
              </a:rPr>
              <a:t>ERV is turned off when the inside </a:t>
            </a:r>
            <a:br>
              <a:rPr lang="en-US" altLang="ko-KR" b="0" spc="0" dirty="0">
                <a:solidFill>
                  <a:prstClr val="black"/>
                </a:solidFill>
                <a:latin typeface="Arial" panose="020B0604020202020204" pitchFamily="34" charset="0"/>
                <a:cs typeface="Arial" panose="020B0604020202020204" pitchFamily="34" charset="0"/>
              </a:rPr>
            </a:br>
            <a:r>
              <a:rPr lang="en-US" altLang="ko-KR" b="0" spc="0" dirty="0">
                <a:solidFill>
                  <a:prstClr val="black"/>
                </a:solidFill>
                <a:latin typeface="Arial" panose="020B0604020202020204" pitchFamily="34" charset="0"/>
                <a:cs typeface="Arial" panose="020B0604020202020204" pitchFamily="34" charset="0"/>
              </a:rPr>
              <a:t>temperature is  lower than set temperature.</a:t>
            </a:r>
          </a:p>
        </p:txBody>
      </p:sp>
      <p:cxnSp>
        <p:nvCxnSpPr>
          <p:cNvPr id="206" name="직선 연결선 205"/>
          <p:cNvCxnSpPr/>
          <p:nvPr/>
        </p:nvCxnSpPr>
        <p:spPr>
          <a:xfrm>
            <a:off x="-17649" y="5591190"/>
            <a:ext cx="9923650" cy="0"/>
          </a:xfrm>
          <a:prstGeom prst="line">
            <a:avLst/>
          </a:prstGeom>
          <a:ln w="762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7" name="자유형 206"/>
          <p:cNvSpPr/>
          <p:nvPr/>
        </p:nvSpPr>
        <p:spPr>
          <a:xfrm>
            <a:off x="5169025" y="3976565"/>
            <a:ext cx="45719" cy="1051355"/>
          </a:xfrm>
          <a:custGeom>
            <a:avLst/>
            <a:gdLst>
              <a:gd name="connsiteX0" fmla="*/ 0 w 0"/>
              <a:gd name="connsiteY0" fmla="*/ 0 h 991518"/>
              <a:gd name="connsiteX1" fmla="*/ 0 w 0"/>
              <a:gd name="connsiteY1" fmla="*/ 0 h 991518"/>
              <a:gd name="connsiteX2" fmla="*/ 0 w 0"/>
              <a:gd name="connsiteY2" fmla="*/ 991518 h 991518"/>
            </a:gdLst>
            <a:ahLst/>
            <a:cxnLst>
              <a:cxn ang="0">
                <a:pos x="connsiteX0" y="connsiteY0"/>
              </a:cxn>
              <a:cxn ang="0">
                <a:pos x="connsiteX1" y="connsiteY1"/>
              </a:cxn>
              <a:cxn ang="0">
                <a:pos x="connsiteX2" y="connsiteY2"/>
              </a:cxn>
            </a:cxnLst>
            <a:rect l="l" t="t" r="r" b="b"/>
            <a:pathLst>
              <a:path h="991518">
                <a:moveTo>
                  <a:pt x="0" y="0"/>
                </a:moveTo>
                <a:lnTo>
                  <a:pt x="0" y="0"/>
                </a:lnTo>
                <a:lnTo>
                  <a:pt x="0" y="991518"/>
                </a:lnTo>
              </a:path>
            </a:pathLst>
          </a:custGeom>
          <a:ln>
            <a:solidFill>
              <a:srgbClr val="C0004E"/>
            </a:solidFill>
          </a:ln>
        </p:spPr>
        <p:style>
          <a:lnRef idx="1">
            <a:schemeClr val="accent1"/>
          </a:lnRef>
          <a:fillRef idx="0">
            <a:schemeClr val="accent1"/>
          </a:fillRef>
          <a:effectRef idx="0">
            <a:schemeClr val="accent1"/>
          </a:effectRef>
          <a:fontRef idx="minor">
            <a:schemeClr val="tx1"/>
          </a:fontRef>
        </p:style>
        <p:txBody>
          <a:bodyPr lIns="83988" tIns="41994" rIns="83988" bIns="41994" rtlCol="0" anchor="ctr"/>
          <a:lstStyle/>
          <a:p>
            <a:pPr algn="ctr"/>
            <a:endParaRPr lang="ko-KR" altLang="en-US">
              <a:solidFill>
                <a:prstClr val="black"/>
              </a:solidFill>
              <a:latin typeface="Arial" panose="020B0604020202020204" pitchFamily="34" charset="0"/>
              <a:cs typeface="Arial" panose="020B0604020202020204" pitchFamily="34" charset="0"/>
            </a:endParaRPr>
          </a:p>
        </p:txBody>
      </p:sp>
      <p:sp>
        <p:nvSpPr>
          <p:cNvPr id="208" name="아래쪽 화살표 207"/>
          <p:cNvSpPr/>
          <p:nvPr/>
        </p:nvSpPr>
        <p:spPr>
          <a:xfrm>
            <a:off x="4009408" y="3860410"/>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09" name="아래쪽 화살표 208"/>
          <p:cNvSpPr/>
          <p:nvPr/>
        </p:nvSpPr>
        <p:spPr>
          <a:xfrm>
            <a:off x="4482891" y="3934803"/>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0" name="아래쪽 화살표 209"/>
          <p:cNvSpPr/>
          <p:nvPr/>
        </p:nvSpPr>
        <p:spPr>
          <a:xfrm>
            <a:off x="5834529" y="4159363"/>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1" name="아래쪽 화살표 210"/>
          <p:cNvSpPr/>
          <p:nvPr/>
        </p:nvSpPr>
        <p:spPr>
          <a:xfrm>
            <a:off x="6206193" y="4224693"/>
            <a:ext cx="240332" cy="287544"/>
          </a:xfrm>
          <a:prstGeom prst="downArrow">
            <a:avLst/>
          </a:prstGeom>
          <a:gradFill>
            <a:gsLst>
              <a:gs pos="0">
                <a:srgbClr val="C60751">
                  <a:alpha val="0"/>
                </a:srgbClr>
              </a:gs>
              <a:gs pos="74000">
                <a:srgbClr val="C60751">
                  <a:alpha val="88000"/>
                </a:srgbClr>
              </a:gs>
              <a:gs pos="83000">
                <a:srgbClr val="C60751">
                  <a:alpha val="76000"/>
                </a:srgbClr>
              </a:gs>
              <a:gs pos="100000">
                <a:srgbClr val="C6075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2" name="이등변 삼각형 211"/>
          <p:cNvSpPr/>
          <p:nvPr/>
        </p:nvSpPr>
        <p:spPr>
          <a:xfrm rot="5400000">
            <a:off x="6520410" y="3658377"/>
            <a:ext cx="389176" cy="25463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3" name="이등변 삼각형 212"/>
          <p:cNvSpPr/>
          <p:nvPr/>
        </p:nvSpPr>
        <p:spPr>
          <a:xfrm rot="5400000">
            <a:off x="3226822" y="3658378"/>
            <a:ext cx="389176" cy="25463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9" name="직사각형 218"/>
          <p:cNvSpPr/>
          <p:nvPr/>
        </p:nvSpPr>
        <p:spPr>
          <a:xfrm rot="5400000">
            <a:off x="4627836" y="3341565"/>
            <a:ext cx="2261277" cy="1635595"/>
          </a:xfrm>
          <a:prstGeom prst="rect">
            <a:avLst/>
          </a:prstGeom>
          <a:gradFill flip="none" rotWithShape="1">
            <a:gsLst>
              <a:gs pos="0">
                <a:srgbClr val="00B0F0">
                  <a:alpha val="0"/>
                </a:srgbClr>
              </a:gs>
              <a:gs pos="52000">
                <a:srgbClr val="00B0F0">
                  <a:alpha val="18000"/>
                </a:srgbClr>
              </a:gs>
              <a:gs pos="100000">
                <a:srgbClr val="0070C0">
                  <a:alpha val="39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20" name="자유형 219"/>
          <p:cNvSpPr/>
          <p:nvPr/>
        </p:nvSpPr>
        <p:spPr>
          <a:xfrm>
            <a:off x="-17650" y="3726895"/>
            <a:ext cx="9936887" cy="874244"/>
          </a:xfrm>
          <a:custGeom>
            <a:avLst/>
            <a:gdLst>
              <a:gd name="connsiteX0" fmla="*/ 0 w 10725150"/>
              <a:gd name="connsiteY0" fmla="*/ 933450 h 933450"/>
              <a:gd name="connsiteX1" fmla="*/ 2009775 w 10725150"/>
              <a:gd name="connsiteY1" fmla="*/ 619125 h 933450"/>
              <a:gd name="connsiteX2" fmla="*/ 4019550 w 10725150"/>
              <a:gd name="connsiteY2" fmla="*/ 0 h 933450"/>
              <a:gd name="connsiteX3" fmla="*/ 8858250 w 10725150"/>
              <a:gd name="connsiteY3" fmla="*/ 666750 h 933450"/>
              <a:gd name="connsiteX4" fmla="*/ 9763125 w 10725150"/>
              <a:gd name="connsiteY4" fmla="*/ 533400 h 933450"/>
              <a:gd name="connsiteX5" fmla="*/ 10725150 w 10725150"/>
              <a:gd name="connsiteY5" fmla="*/ 657225 h 933450"/>
              <a:gd name="connsiteX0" fmla="*/ 0 w 10725150"/>
              <a:gd name="connsiteY0" fmla="*/ 933450 h 933450"/>
              <a:gd name="connsiteX1" fmla="*/ 2009775 w 10725150"/>
              <a:gd name="connsiteY1" fmla="*/ 619125 h 933450"/>
              <a:gd name="connsiteX2" fmla="*/ 4019550 w 10725150"/>
              <a:gd name="connsiteY2" fmla="*/ 0 h 933450"/>
              <a:gd name="connsiteX3" fmla="*/ 8858250 w 10725150"/>
              <a:gd name="connsiteY3" fmla="*/ 666750 h 933450"/>
              <a:gd name="connsiteX4" fmla="*/ 9763125 w 10725150"/>
              <a:gd name="connsiteY4" fmla="*/ 533400 h 933450"/>
              <a:gd name="connsiteX5" fmla="*/ 10725150 w 10725150"/>
              <a:gd name="connsiteY5" fmla="*/ 657225 h 933450"/>
              <a:gd name="connsiteX0" fmla="*/ 0 w 10725150"/>
              <a:gd name="connsiteY0" fmla="*/ 933450 h 962924"/>
              <a:gd name="connsiteX1" fmla="*/ 2009775 w 10725150"/>
              <a:gd name="connsiteY1" fmla="*/ 619125 h 962924"/>
              <a:gd name="connsiteX2" fmla="*/ 4019550 w 10725150"/>
              <a:gd name="connsiteY2" fmla="*/ 0 h 962924"/>
              <a:gd name="connsiteX3" fmla="*/ 8858250 w 10725150"/>
              <a:gd name="connsiteY3" fmla="*/ 666750 h 962924"/>
              <a:gd name="connsiteX4" fmla="*/ 9763125 w 10725150"/>
              <a:gd name="connsiteY4" fmla="*/ 533400 h 962924"/>
              <a:gd name="connsiteX5" fmla="*/ 10725150 w 10725150"/>
              <a:gd name="connsiteY5" fmla="*/ 657225 h 962924"/>
              <a:gd name="connsiteX0" fmla="*/ 0 w 10725150"/>
              <a:gd name="connsiteY0" fmla="*/ 933450 h 962924"/>
              <a:gd name="connsiteX1" fmla="*/ 2009775 w 10725150"/>
              <a:gd name="connsiteY1" fmla="*/ 619125 h 962924"/>
              <a:gd name="connsiteX2" fmla="*/ 4019550 w 10725150"/>
              <a:gd name="connsiteY2" fmla="*/ 0 h 962924"/>
              <a:gd name="connsiteX3" fmla="*/ 8858250 w 10725150"/>
              <a:gd name="connsiteY3" fmla="*/ 666750 h 962924"/>
              <a:gd name="connsiteX4" fmla="*/ 9763125 w 10725150"/>
              <a:gd name="connsiteY4" fmla="*/ 533400 h 962924"/>
              <a:gd name="connsiteX5" fmla="*/ 10725150 w 10725150"/>
              <a:gd name="connsiteY5" fmla="*/ 657225 h 96292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6540 h 966014"/>
              <a:gd name="connsiteX1" fmla="*/ 2009775 w 10725150"/>
              <a:gd name="connsiteY1" fmla="*/ 622215 h 966014"/>
              <a:gd name="connsiteX2" fmla="*/ 4019550 w 10725150"/>
              <a:gd name="connsiteY2" fmla="*/ 3090 h 966014"/>
              <a:gd name="connsiteX3" fmla="*/ 8858250 w 10725150"/>
              <a:gd name="connsiteY3" fmla="*/ 669840 h 966014"/>
              <a:gd name="connsiteX4" fmla="*/ 9763125 w 10725150"/>
              <a:gd name="connsiteY4" fmla="*/ 536490 h 966014"/>
              <a:gd name="connsiteX5" fmla="*/ 10725150 w 10725150"/>
              <a:gd name="connsiteY5" fmla="*/ 660315 h 966014"/>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4149 h 963623"/>
              <a:gd name="connsiteX1" fmla="*/ 2009775 w 10725150"/>
              <a:gd name="connsiteY1" fmla="*/ 619824 h 963623"/>
              <a:gd name="connsiteX2" fmla="*/ 4019550 w 10725150"/>
              <a:gd name="connsiteY2" fmla="*/ 699 h 963623"/>
              <a:gd name="connsiteX3" fmla="*/ 8858250 w 10725150"/>
              <a:gd name="connsiteY3" fmla="*/ 667449 h 963623"/>
              <a:gd name="connsiteX4" fmla="*/ 9763125 w 10725150"/>
              <a:gd name="connsiteY4" fmla="*/ 534099 h 963623"/>
              <a:gd name="connsiteX5" fmla="*/ 10725150 w 10725150"/>
              <a:gd name="connsiteY5" fmla="*/ 657924 h 963623"/>
              <a:gd name="connsiteX0" fmla="*/ 0 w 10725150"/>
              <a:gd name="connsiteY0" fmla="*/ 933453 h 962927"/>
              <a:gd name="connsiteX1" fmla="*/ 2009775 w 10725150"/>
              <a:gd name="connsiteY1" fmla="*/ 619128 h 962927"/>
              <a:gd name="connsiteX2" fmla="*/ 4019550 w 10725150"/>
              <a:gd name="connsiteY2" fmla="*/ 3 h 962927"/>
              <a:gd name="connsiteX3" fmla="*/ 7236278 w 10725150"/>
              <a:gd name="connsiteY3" fmla="*/ 623210 h 962927"/>
              <a:gd name="connsiteX4" fmla="*/ 9763125 w 10725150"/>
              <a:gd name="connsiteY4" fmla="*/ 533403 h 962927"/>
              <a:gd name="connsiteX5" fmla="*/ 10725150 w 10725150"/>
              <a:gd name="connsiteY5" fmla="*/ 657228 h 962927"/>
              <a:gd name="connsiteX0" fmla="*/ 0 w 10725150"/>
              <a:gd name="connsiteY0" fmla="*/ 933480 h 962954"/>
              <a:gd name="connsiteX1" fmla="*/ 2009775 w 10725150"/>
              <a:gd name="connsiteY1" fmla="*/ 619155 h 962954"/>
              <a:gd name="connsiteX2" fmla="*/ 4019550 w 10725150"/>
              <a:gd name="connsiteY2" fmla="*/ 30 h 962954"/>
              <a:gd name="connsiteX3" fmla="*/ 7519306 w 10725150"/>
              <a:gd name="connsiteY3" fmla="*/ 634123 h 962954"/>
              <a:gd name="connsiteX4" fmla="*/ 9763125 w 10725150"/>
              <a:gd name="connsiteY4" fmla="*/ 533430 h 962954"/>
              <a:gd name="connsiteX5" fmla="*/ 10725150 w 10725150"/>
              <a:gd name="connsiteY5" fmla="*/ 657255 h 962954"/>
              <a:gd name="connsiteX0" fmla="*/ 0 w 10725150"/>
              <a:gd name="connsiteY0" fmla="*/ 933452 h 962926"/>
              <a:gd name="connsiteX1" fmla="*/ 2009775 w 10725150"/>
              <a:gd name="connsiteY1" fmla="*/ 619127 h 962926"/>
              <a:gd name="connsiteX2" fmla="*/ 4019550 w 10725150"/>
              <a:gd name="connsiteY2" fmla="*/ 2 h 962926"/>
              <a:gd name="connsiteX3" fmla="*/ 7247163 w 10725150"/>
              <a:gd name="connsiteY3" fmla="*/ 612323 h 962926"/>
              <a:gd name="connsiteX4" fmla="*/ 9763125 w 10725150"/>
              <a:gd name="connsiteY4" fmla="*/ 533402 h 962926"/>
              <a:gd name="connsiteX5" fmla="*/ 10725150 w 10725150"/>
              <a:gd name="connsiteY5" fmla="*/ 657227 h 962926"/>
              <a:gd name="connsiteX0" fmla="*/ 0 w 10725150"/>
              <a:gd name="connsiteY0" fmla="*/ 933452 h 962926"/>
              <a:gd name="connsiteX1" fmla="*/ 2009775 w 10725150"/>
              <a:gd name="connsiteY1" fmla="*/ 619127 h 962926"/>
              <a:gd name="connsiteX2" fmla="*/ 4019550 w 10725150"/>
              <a:gd name="connsiteY2" fmla="*/ 2 h 962926"/>
              <a:gd name="connsiteX3" fmla="*/ 7247163 w 10725150"/>
              <a:gd name="connsiteY3" fmla="*/ 612323 h 962926"/>
              <a:gd name="connsiteX4" fmla="*/ 9763125 w 10725150"/>
              <a:gd name="connsiteY4" fmla="*/ 533402 h 962926"/>
              <a:gd name="connsiteX5" fmla="*/ 10725150 w 10725150"/>
              <a:gd name="connsiteY5" fmla="*/ 657227 h 962926"/>
              <a:gd name="connsiteX0" fmla="*/ 0 w 10725150"/>
              <a:gd name="connsiteY0" fmla="*/ 933452 h 962926"/>
              <a:gd name="connsiteX1" fmla="*/ 2009775 w 10725150"/>
              <a:gd name="connsiteY1" fmla="*/ 619127 h 962926"/>
              <a:gd name="connsiteX2" fmla="*/ 4019550 w 10725150"/>
              <a:gd name="connsiteY2" fmla="*/ 2 h 962926"/>
              <a:gd name="connsiteX3" fmla="*/ 7247163 w 10725150"/>
              <a:gd name="connsiteY3" fmla="*/ 612323 h 962926"/>
              <a:gd name="connsiteX4" fmla="*/ 9763125 w 10725150"/>
              <a:gd name="connsiteY4" fmla="*/ 533402 h 962926"/>
              <a:gd name="connsiteX5" fmla="*/ 10725150 w 10725150"/>
              <a:gd name="connsiteY5" fmla="*/ 657227 h 962926"/>
              <a:gd name="connsiteX0" fmla="*/ 0 w 10725150"/>
              <a:gd name="connsiteY0" fmla="*/ 933452 h 962926"/>
              <a:gd name="connsiteX1" fmla="*/ 2009775 w 10725150"/>
              <a:gd name="connsiteY1" fmla="*/ 619127 h 962926"/>
              <a:gd name="connsiteX2" fmla="*/ 4019550 w 10725150"/>
              <a:gd name="connsiteY2" fmla="*/ 2 h 962926"/>
              <a:gd name="connsiteX3" fmla="*/ 7258049 w 10725150"/>
              <a:gd name="connsiteY3" fmla="*/ 612323 h 962926"/>
              <a:gd name="connsiteX4" fmla="*/ 9763125 w 10725150"/>
              <a:gd name="connsiteY4" fmla="*/ 533402 h 962926"/>
              <a:gd name="connsiteX5" fmla="*/ 10725150 w 10725150"/>
              <a:gd name="connsiteY5" fmla="*/ 657227 h 962926"/>
              <a:gd name="connsiteX0" fmla="*/ 0 w 10725150"/>
              <a:gd name="connsiteY0" fmla="*/ 933480 h 962954"/>
              <a:gd name="connsiteX1" fmla="*/ 2009775 w 10725150"/>
              <a:gd name="connsiteY1" fmla="*/ 619155 h 962954"/>
              <a:gd name="connsiteX2" fmla="*/ 4019550 w 10725150"/>
              <a:gd name="connsiteY2" fmla="*/ 30 h 962954"/>
              <a:gd name="connsiteX3" fmla="*/ 7040335 w 10725150"/>
              <a:gd name="connsiteY3" fmla="*/ 634122 h 962954"/>
              <a:gd name="connsiteX4" fmla="*/ 9763125 w 10725150"/>
              <a:gd name="connsiteY4" fmla="*/ 533430 h 962954"/>
              <a:gd name="connsiteX5" fmla="*/ 10725150 w 10725150"/>
              <a:gd name="connsiteY5" fmla="*/ 657255 h 962954"/>
              <a:gd name="connsiteX0" fmla="*/ 0 w 10725150"/>
              <a:gd name="connsiteY0" fmla="*/ 933480 h 962954"/>
              <a:gd name="connsiteX1" fmla="*/ 2009775 w 10725150"/>
              <a:gd name="connsiteY1" fmla="*/ 619155 h 962954"/>
              <a:gd name="connsiteX2" fmla="*/ 4019550 w 10725150"/>
              <a:gd name="connsiteY2" fmla="*/ 30 h 962954"/>
              <a:gd name="connsiteX3" fmla="*/ 7040335 w 10725150"/>
              <a:gd name="connsiteY3" fmla="*/ 634122 h 962954"/>
              <a:gd name="connsiteX4" fmla="*/ 9763125 w 10725150"/>
              <a:gd name="connsiteY4" fmla="*/ 533430 h 962954"/>
              <a:gd name="connsiteX5" fmla="*/ 10725150 w 10725150"/>
              <a:gd name="connsiteY5" fmla="*/ 657255 h 962954"/>
              <a:gd name="connsiteX0" fmla="*/ 0 w 10725150"/>
              <a:gd name="connsiteY0" fmla="*/ 934602 h 964076"/>
              <a:gd name="connsiteX1" fmla="*/ 2009775 w 10725150"/>
              <a:gd name="connsiteY1" fmla="*/ 620277 h 964076"/>
              <a:gd name="connsiteX2" fmla="*/ 4019550 w 10725150"/>
              <a:gd name="connsiteY2" fmla="*/ 1152 h 964076"/>
              <a:gd name="connsiteX3" fmla="*/ 6572250 w 10725150"/>
              <a:gd name="connsiteY3" fmla="*/ 493730 h 964076"/>
              <a:gd name="connsiteX4" fmla="*/ 9763125 w 10725150"/>
              <a:gd name="connsiteY4" fmla="*/ 534552 h 964076"/>
              <a:gd name="connsiteX5" fmla="*/ 10725150 w 10725150"/>
              <a:gd name="connsiteY5" fmla="*/ 658377 h 964076"/>
              <a:gd name="connsiteX0" fmla="*/ 0 w 10725150"/>
              <a:gd name="connsiteY0" fmla="*/ 934602 h 964076"/>
              <a:gd name="connsiteX1" fmla="*/ 2009775 w 10725150"/>
              <a:gd name="connsiteY1" fmla="*/ 620277 h 964076"/>
              <a:gd name="connsiteX2" fmla="*/ 4019550 w 10725150"/>
              <a:gd name="connsiteY2" fmla="*/ 1152 h 964076"/>
              <a:gd name="connsiteX3" fmla="*/ 6572250 w 10725150"/>
              <a:gd name="connsiteY3" fmla="*/ 493730 h 964076"/>
              <a:gd name="connsiteX4" fmla="*/ 9763125 w 10725150"/>
              <a:gd name="connsiteY4" fmla="*/ 534552 h 964076"/>
              <a:gd name="connsiteX5" fmla="*/ 10725150 w 10725150"/>
              <a:gd name="connsiteY5" fmla="*/ 658377 h 964076"/>
              <a:gd name="connsiteX0" fmla="*/ 0 w 10725150"/>
              <a:gd name="connsiteY0" fmla="*/ 933605 h 963079"/>
              <a:gd name="connsiteX1" fmla="*/ 2009775 w 10725150"/>
              <a:gd name="connsiteY1" fmla="*/ 619280 h 963079"/>
              <a:gd name="connsiteX2" fmla="*/ 4019550 w 10725150"/>
              <a:gd name="connsiteY2" fmla="*/ 155 h 963079"/>
              <a:gd name="connsiteX3" fmla="*/ 7149193 w 10725150"/>
              <a:gd name="connsiteY3" fmla="*/ 568933 h 963079"/>
              <a:gd name="connsiteX4" fmla="*/ 9763125 w 10725150"/>
              <a:gd name="connsiteY4" fmla="*/ 533555 h 963079"/>
              <a:gd name="connsiteX5" fmla="*/ 10725150 w 10725150"/>
              <a:gd name="connsiteY5" fmla="*/ 657380 h 963079"/>
              <a:gd name="connsiteX0" fmla="*/ 0 w 10725150"/>
              <a:gd name="connsiteY0" fmla="*/ 933605 h 963079"/>
              <a:gd name="connsiteX1" fmla="*/ 2009775 w 10725150"/>
              <a:gd name="connsiteY1" fmla="*/ 619280 h 963079"/>
              <a:gd name="connsiteX2" fmla="*/ 4019550 w 10725150"/>
              <a:gd name="connsiteY2" fmla="*/ 155 h 963079"/>
              <a:gd name="connsiteX3" fmla="*/ 7149193 w 10725150"/>
              <a:gd name="connsiteY3" fmla="*/ 568933 h 963079"/>
              <a:gd name="connsiteX4" fmla="*/ 9305925 w 10725150"/>
              <a:gd name="connsiteY4" fmla="*/ 468240 h 963079"/>
              <a:gd name="connsiteX5" fmla="*/ 10725150 w 10725150"/>
              <a:gd name="connsiteY5" fmla="*/ 657380 h 963079"/>
              <a:gd name="connsiteX0" fmla="*/ 0 w 10725150"/>
              <a:gd name="connsiteY0" fmla="*/ 934218 h 963692"/>
              <a:gd name="connsiteX1" fmla="*/ 2009775 w 10725150"/>
              <a:gd name="connsiteY1" fmla="*/ 619893 h 963692"/>
              <a:gd name="connsiteX2" fmla="*/ 4019550 w 10725150"/>
              <a:gd name="connsiteY2" fmla="*/ 768 h 963692"/>
              <a:gd name="connsiteX3" fmla="*/ 7541079 w 10725150"/>
              <a:gd name="connsiteY3" fmla="*/ 700174 h 963692"/>
              <a:gd name="connsiteX4" fmla="*/ 9305925 w 10725150"/>
              <a:gd name="connsiteY4" fmla="*/ 468853 h 963692"/>
              <a:gd name="connsiteX5" fmla="*/ 10725150 w 10725150"/>
              <a:gd name="connsiteY5" fmla="*/ 657993 h 963692"/>
              <a:gd name="connsiteX0" fmla="*/ 0 w 10725150"/>
              <a:gd name="connsiteY0" fmla="*/ 934218 h 963692"/>
              <a:gd name="connsiteX1" fmla="*/ 2009775 w 10725150"/>
              <a:gd name="connsiteY1" fmla="*/ 619893 h 963692"/>
              <a:gd name="connsiteX2" fmla="*/ 4019550 w 10725150"/>
              <a:gd name="connsiteY2" fmla="*/ 768 h 963692"/>
              <a:gd name="connsiteX3" fmla="*/ 7541079 w 10725150"/>
              <a:gd name="connsiteY3" fmla="*/ 700174 h 963692"/>
              <a:gd name="connsiteX4" fmla="*/ 9349468 w 10725150"/>
              <a:gd name="connsiteY4" fmla="*/ 534167 h 963692"/>
              <a:gd name="connsiteX5" fmla="*/ 10725150 w 10725150"/>
              <a:gd name="connsiteY5" fmla="*/ 657993 h 96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5150" h="963692">
                <a:moveTo>
                  <a:pt x="0" y="934218"/>
                </a:moveTo>
                <a:cubicBezTo>
                  <a:pt x="346075" y="953268"/>
                  <a:pt x="1301750" y="1077093"/>
                  <a:pt x="2009775" y="619893"/>
                </a:cubicBezTo>
                <a:cubicBezTo>
                  <a:pt x="2832100" y="146818"/>
                  <a:pt x="3097666" y="-12612"/>
                  <a:pt x="4019550" y="768"/>
                </a:cubicBezTo>
                <a:cubicBezTo>
                  <a:pt x="4941434" y="14148"/>
                  <a:pt x="6271079" y="458874"/>
                  <a:pt x="7541079" y="700174"/>
                </a:cubicBezTo>
                <a:cubicBezTo>
                  <a:pt x="8245475" y="800867"/>
                  <a:pt x="8285843" y="520560"/>
                  <a:pt x="9349468" y="534167"/>
                </a:cubicBezTo>
                <a:cubicBezTo>
                  <a:pt x="9670143" y="527817"/>
                  <a:pt x="10423525" y="588143"/>
                  <a:pt x="10725150" y="657993"/>
                </a:cubicBezTo>
              </a:path>
            </a:pathLst>
          </a:custGeom>
          <a:noFill/>
          <a:ln w="19050">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21" name="타원 220"/>
          <p:cNvSpPr/>
          <p:nvPr/>
        </p:nvSpPr>
        <p:spPr>
          <a:xfrm>
            <a:off x="5132448" y="3916749"/>
            <a:ext cx="102337" cy="100203"/>
          </a:xfrm>
          <a:prstGeom prst="ellipse">
            <a:avLst/>
          </a:prstGeom>
          <a:solidFill>
            <a:schemeClr val="bg1"/>
          </a:solidFill>
          <a:ln w="28575">
            <a:solidFill>
              <a:srgbClr val="C0004E"/>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222" name="그룹 221"/>
          <p:cNvGrpSpPr/>
          <p:nvPr/>
        </p:nvGrpSpPr>
        <p:grpSpPr>
          <a:xfrm>
            <a:off x="65359" y="3683766"/>
            <a:ext cx="1301459" cy="298858"/>
            <a:chOff x="801134" y="4305009"/>
            <a:chExt cx="1404700" cy="329437"/>
          </a:xfrm>
        </p:grpSpPr>
        <p:sp>
          <p:nvSpPr>
            <p:cNvPr id="223" name="모서리가 둥근 직사각형 222"/>
            <p:cNvSpPr/>
            <p:nvPr/>
          </p:nvSpPr>
          <p:spPr>
            <a:xfrm>
              <a:off x="882080" y="4383892"/>
              <a:ext cx="1242809" cy="2447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24" name="Text Box 5"/>
            <p:cNvSpPr txBox="1">
              <a:spLocks noChangeArrowheads="1"/>
            </p:cNvSpPr>
            <p:nvPr>
              <p:custDataLst>
                <p:tags r:id="rId8"/>
              </p:custDataLst>
            </p:nvPr>
          </p:nvSpPr>
          <p:spPr bwMode="auto">
            <a:xfrm>
              <a:off x="801134" y="4366353"/>
              <a:ext cx="1404700" cy="268093"/>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bg1"/>
                  </a:solidFill>
                  <a:latin typeface="맑은 고딕" panose="020B0503020000020004" pitchFamily="50" charset="-127"/>
                </a:defRPr>
              </a:lvl1pPr>
            </a:lstStyle>
            <a:p>
              <a:r>
                <a:rPr lang="en-US" altLang="ko-KR" dirty="0">
                  <a:solidFill>
                    <a:prstClr val="white"/>
                  </a:solidFill>
                  <a:latin typeface="Arial" panose="020B0604020202020204" pitchFamily="34" charset="0"/>
                  <a:cs typeface="Arial" panose="020B0604020202020204" pitchFamily="34" charset="0"/>
                </a:rPr>
                <a:t>Outdoor Temp.</a:t>
              </a:r>
            </a:p>
          </p:txBody>
        </p:sp>
        <p:sp>
          <p:nvSpPr>
            <p:cNvPr id="225" name="이등변 삼각형 224"/>
            <p:cNvSpPr/>
            <p:nvPr/>
          </p:nvSpPr>
          <p:spPr>
            <a:xfrm>
              <a:off x="1442075" y="4305009"/>
              <a:ext cx="137215" cy="80612"/>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226" name="모서리가 둥근 직사각형 225"/>
          <p:cNvSpPr/>
          <p:nvPr/>
        </p:nvSpPr>
        <p:spPr>
          <a:xfrm>
            <a:off x="140356" y="4672700"/>
            <a:ext cx="1151467" cy="22203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27" name="Text Box 5"/>
          <p:cNvSpPr txBox="1">
            <a:spLocks noChangeArrowheads="1"/>
          </p:cNvSpPr>
          <p:nvPr>
            <p:custDataLst>
              <p:tags r:id="rId6"/>
            </p:custDataLst>
          </p:nvPr>
        </p:nvSpPr>
        <p:spPr bwMode="auto">
          <a:xfrm>
            <a:off x="65359" y="4652318"/>
            <a:ext cx="1301459" cy="2585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bg1"/>
                </a:solidFill>
                <a:latin typeface="맑은 고딕" panose="020B0503020000020004" pitchFamily="50" charset="-127"/>
              </a:defRPr>
            </a:lvl1pPr>
          </a:lstStyle>
          <a:p>
            <a:r>
              <a:rPr lang="en-US" altLang="ko-KR" dirty="0">
                <a:solidFill>
                  <a:prstClr val="white"/>
                </a:solidFill>
                <a:latin typeface="Arial" panose="020B0604020202020204" pitchFamily="34" charset="0"/>
                <a:cs typeface="Arial" panose="020B0604020202020204" pitchFamily="34" charset="0"/>
              </a:rPr>
              <a:t>Indoor Temp.</a:t>
            </a:r>
          </a:p>
        </p:txBody>
      </p:sp>
      <p:sp>
        <p:nvSpPr>
          <p:cNvPr id="228" name="이등변 삼각형 227"/>
          <p:cNvSpPr/>
          <p:nvPr/>
        </p:nvSpPr>
        <p:spPr>
          <a:xfrm>
            <a:off x="659194" y="4601138"/>
            <a:ext cx="127130" cy="7313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29" name="직사각형 228"/>
          <p:cNvSpPr/>
          <p:nvPr/>
        </p:nvSpPr>
        <p:spPr>
          <a:xfrm>
            <a:off x="-3013" y="2218507"/>
            <a:ext cx="9909013" cy="1264913"/>
          </a:xfrm>
          <a:prstGeom prst="rect">
            <a:avLst/>
          </a:prstGeom>
          <a:blipFill>
            <a:blip r:embed="rId18">
              <a:duotone>
                <a:prstClr val="black"/>
                <a:schemeClr val="accent3">
                  <a:tint val="45000"/>
                  <a:satMod val="400000"/>
                </a:schemeClr>
              </a:duotone>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30" name="직사각형 229"/>
          <p:cNvSpPr/>
          <p:nvPr/>
        </p:nvSpPr>
        <p:spPr>
          <a:xfrm>
            <a:off x="-3013" y="2218507"/>
            <a:ext cx="9909013" cy="1264913"/>
          </a:xfrm>
          <a:prstGeom prst="rect">
            <a:avLst/>
          </a:prstGeom>
          <a:solidFill>
            <a:schemeClr val="tx1">
              <a:lumMod val="75000"/>
              <a:lumOff val="2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31" name="TextBox 230"/>
          <p:cNvSpPr txBox="1"/>
          <p:nvPr/>
        </p:nvSpPr>
        <p:spPr>
          <a:xfrm>
            <a:off x="384542" y="2345322"/>
            <a:ext cx="2672643"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110000"/>
              </a:lnSpc>
            </a:pPr>
            <a:r>
              <a:rPr lang="en-US" altLang="ko-KR" b="0" spc="0" dirty="0">
                <a:solidFill>
                  <a:prstClr val="white"/>
                </a:solidFill>
                <a:latin typeface="Arial" panose="020B0604020202020204" pitchFamily="34" charset="0"/>
                <a:cs typeface="Arial" panose="020B0604020202020204" pitchFamily="34" charset="0"/>
              </a:rPr>
              <a:t>Indoors temperature is getting higher in the night </a:t>
            </a:r>
            <a:br>
              <a:rPr lang="en-US" altLang="ko-KR" b="0" spc="0" dirty="0">
                <a:solidFill>
                  <a:prstClr val="white"/>
                </a:solidFill>
                <a:latin typeface="Arial" panose="020B0604020202020204" pitchFamily="34" charset="0"/>
                <a:cs typeface="Arial" panose="020B0604020202020204" pitchFamily="34" charset="0"/>
              </a:rPr>
            </a:br>
            <a:r>
              <a:rPr lang="en-US" altLang="ko-KR" b="0" spc="0" dirty="0">
                <a:solidFill>
                  <a:prstClr val="white"/>
                </a:solidFill>
                <a:latin typeface="Arial" panose="020B0604020202020204" pitchFamily="34" charset="0"/>
                <a:cs typeface="Arial" panose="020B0604020202020204" pitchFamily="34" charset="0"/>
              </a:rPr>
              <a:t>because of persons indoor.</a:t>
            </a:r>
          </a:p>
        </p:txBody>
      </p:sp>
      <p:sp>
        <p:nvSpPr>
          <p:cNvPr id="232" name="TextBox 231"/>
          <p:cNvSpPr txBox="1"/>
          <p:nvPr/>
        </p:nvSpPr>
        <p:spPr>
          <a:xfrm>
            <a:off x="6849341" y="2345322"/>
            <a:ext cx="2884572"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bg1"/>
                </a:solidFill>
                <a:latin typeface="맑은 고딕" panose="020B0503020000020004" pitchFamily="50" charset="-127"/>
              </a:defRPr>
            </a:lvl1pPr>
          </a:lstStyle>
          <a:p>
            <a:pPr>
              <a:lnSpc>
                <a:spcPct val="110000"/>
              </a:lnSpc>
            </a:pPr>
            <a:r>
              <a:rPr lang="en-US" altLang="ko-KR" b="0" spc="0" dirty="0">
                <a:solidFill>
                  <a:prstClr val="white"/>
                </a:solidFill>
                <a:latin typeface="Arial" panose="020B0604020202020204" pitchFamily="34" charset="0"/>
                <a:cs typeface="Arial" panose="020B0604020202020204" pitchFamily="34" charset="0"/>
              </a:rPr>
              <a:t>Making a comfortable environment and reducing the cooling load in the next morning</a:t>
            </a:r>
          </a:p>
        </p:txBody>
      </p:sp>
      <p:sp>
        <p:nvSpPr>
          <p:cNvPr id="233" name="TextBox 232"/>
          <p:cNvSpPr txBox="1"/>
          <p:nvPr/>
        </p:nvSpPr>
        <p:spPr>
          <a:xfrm>
            <a:off x="3584354" y="2345322"/>
            <a:ext cx="2737819" cy="397032"/>
          </a:xfrm>
          <a:prstGeom prst="rect">
            <a:avLst/>
          </a:prstGeom>
          <a:noFill/>
        </p:spPr>
        <p:txBody>
          <a:bodyPr wrap="square" rtlCol="0" anchor="ctr">
            <a:spAutoFit/>
            <a:scene3d>
              <a:camera prst="orthographicFront"/>
              <a:lightRig rig="threePt" dir="t"/>
            </a:scene3d>
            <a:sp3d extrusionH="50800">
              <a:bevelT w="1270" h="1270"/>
            </a:sp3d>
          </a:bodyPr>
          <a:lstStyle>
            <a:defPPr>
              <a:defRPr lang="ko-KR"/>
            </a:defPPr>
            <a:lvl1pPr algn="ctr" fontAlgn="base">
              <a:lnSpc>
                <a:spcPct val="120000"/>
              </a:lnSpc>
              <a:spcBef>
                <a:spcPct val="0"/>
              </a:spcBef>
              <a:defRPr kumimoji="1" sz="900" b="1" spc="-80">
                <a:solidFill>
                  <a:schemeClr val="bg1"/>
                </a:solidFill>
                <a:latin typeface="맑은 고딕" panose="020B0503020000020004" pitchFamily="50" charset="-127"/>
              </a:defRPr>
            </a:lvl1pPr>
          </a:lstStyle>
          <a:p>
            <a:pPr>
              <a:lnSpc>
                <a:spcPct val="110000"/>
              </a:lnSpc>
            </a:pPr>
            <a:r>
              <a:rPr lang="en-US" altLang="ko-KR" b="0" spc="0" dirty="0">
                <a:solidFill>
                  <a:prstClr val="white"/>
                </a:solidFill>
                <a:latin typeface="Arial" panose="020B0604020202020204" pitchFamily="34" charset="0"/>
                <a:cs typeface="Arial" panose="020B0604020202020204" pitchFamily="34" charset="0"/>
              </a:rPr>
              <a:t>Exhausting heat inside,</a:t>
            </a:r>
            <a:br>
              <a:rPr lang="en-US" altLang="ko-KR" b="0" spc="0" dirty="0">
                <a:solidFill>
                  <a:prstClr val="white"/>
                </a:solidFill>
                <a:latin typeface="Arial" panose="020B0604020202020204" pitchFamily="34" charset="0"/>
                <a:cs typeface="Arial" panose="020B0604020202020204" pitchFamily="34" charset="0"/>
              </a:rPr>
            </a:br>
            <a:r>
              <a:rPr lang="en-US" altLang="ko-KR" b="0" spc="0" dirty="0">
                <a:solidFill>
                  <a:prstClr val="white"/>
                </a:solidFill>
                <a:latin typeface="Arial" panose="020B0604020202020204" pitchFamily="34" charset="0"/>
                <a:cs typeface="Arial" panose="020B0604020202020204" pitchFamily="34" charset="0"/>
              </a:rPr>
              <a:t>supplying cool air from outside. </a:t>
            </a:r>
          </a:p>
        </p:txBody>
      </p:sp>
      <p:sp>
        <p:nvSpPr>
          <p:cNvPr id="234" name="자유형 233"/>
          <p:cNvSpPr/>
          <p:nvPr/>
        </p:nvSpPr>
        <p:spPr>
          <a:xfrm rot="5400000" flipH="1">
            <a:off x="4240547" y="2592783"/>
            <a:ext cx="357455" cy="1601177"/>
          </a:xfrm>
          <a:custGeom>
            <a:avLst/>
            <a:gdLst>
              <a:gd name="connsiteX0" fmla="*/ 706484 w 706484"/>
              <a:gd name="connsiteY0" fmla="*/ 2699123 h 2760662"/>
              <a:gd name="connsiteX1" fmla="*/ 675715 w 706484"/>
              <a:gd name="connsiteY1" fmla="*/ 2699123 h 2760662"/>
              <a:gd name="connsiteX2" fmla="*/ 675715 w 706484"/>
              <a:gd name="connsiteY2" fmla="*/ 29991 h 2760662"/>
              <a:gd name="connsiteX3" fmla="*/ 677124 w 706484"/>
              <a:gd name="connsiteY3" fmla="*/ 26590 h 2760662"/>
              <a:gd name="connsiteX4" fmla="*/ 650534 w 706484"/>
              <a:gd name="connsiteY4" fmla="*/ 0 h 2760662"/>
              <a:gd name="connsiteX5" fmla="*/ 26590 w 706484"/>
              <a:gd name="connsiteY5" fmla="*/ 0 h 2760662"/>
              <a:gd name="connsiteX6" fmla="*/ 0 w 706484"/>
              <a:gd name="connsiteY6" fmla="*/ 26590 h 2760662"/>
              <a:gd name="connsiteX7" fmla="*/ 26590 w 706484"/>
              <a:gd name="connsiteY7" fmla="*/ 53181 h 2760662"/>
              <a:gd name="connsiteX8" fmla="*/ 614176 w 706484"/>
              <a:gd name="connsiteY8" fmla="*/ 53181 h 2760662"/>
              <a:gd name="connsiteX9" fmla="*/ 614176 w 706484"/>
              <a:gd name="connsiteY9" fmla="*/ 2699123 h 2760662"/>
              <a:gd name="connsiteX10" fmla="*/ 583406 w 706484"/>
              <a:gd name="connsiteY10" fmla="*/ 2699123 h 2760662"/>
              <a:gd name="connsiteX11" fmla="*/ 644945 w 706484"/>
              <a:gd name="connsiteY11" fmla="*/ 2760662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484" h="2760662">
                <a:moveTo>
                  <a:pt x="706484" y="2699123"/>
                </a:moveTo>
                <a:lnTo>
                  <a:pt x="675715" y="2699123"/>
                </a:lnTo>
                <a:lnTo>
                  <a:pt x="675715" y="29991"/>
                </a:lnTo>
                <a:lnTo>
                  <a:pt x="677124" y="26590"/>
                </a:lnTo>
                <a:cubicBezTo>
                  <a:pt x="677124" y="11905"/>
                  <a:pt x="665219" y="0"/>
                  <a:pt x="650534" y="0"/>
                </a:cubicBezTo>
                <a:lnTo>
                  <a:pt x="26590" y="0"/>
                </a:lnTo>
                <a:cubicBezTo>
                  <a:pt x="11905" y="0"/>
                  <a:pt x="0" y="11905"/>
                  <a:pt x="0" y="26590"/>
                </a:cubicBezTo>
                <a:cubicBezTo>
                  <a:pt x="0" y="41276"/>
                  <a:pt x="11905" y="53181"/>
                  <a:pt x="26590" y="53181"/>
                </a:cubicBezTo>
                <a:lnTo>
                  <a:pt x="614176" y="53181"/>
                </a:lnTo>
                <a:lnTo>
                  <a:pt x="614176" y="2699123"/>
                </a:lnTo>
                <a:lnTo>
                  <a:pt x="583406" y="2699123"/>
                </a:lnTo>
                <a:lnTo>
                  <a:pt x="644945" y="2760662"/>
                </a:lnTo>
                <a:close/>
              </a:path>
            </a:pathLst>
          </a:custGeom>
          <a:solidFill>
            <a:srgbClr val="C00000"/>
          </a:solidFill>
          <a:ln w="38100">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235" name="그룹 234"/>
          <p:cNvGrpSpPr/>
          <p:nvPr/>
        </p:nvGrpSpPr>
        <p:grpSpPr>
          <a:xfrm>
            <a:off x="375655" y="2862407"/>
            <a:ext cx="2488631" cy="656547"/>
            <a:chOff x="405454" y="3345439"/>
            <a:chExt cx="2686047" cy="723722"/>
          </a:xfrm>
        </p:grpSpPr>
        <p:sp>
          <p:nvSpPr>
            <p:cNvPr id="236" name="자유형 235"/>
            <p:cNvSpPr/>
            <p:nvPr/>
          </p:nvSpPr>
          <p:spPr>
            <a:xfrm rot="16200000">
              <a:off x="1394524" y="2356369"/>
              <a:ext cx="707908" cy="2686047"/>
            </a:xfrm>
            <a:custGeom>
              <a:avLst/>
              <a:gdLst>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14916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195594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034102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53199 w 776156"/>
                <a:gd name="connsiteY18" fmla="*/ 3013913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94660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29316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69428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8120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22326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809 w 776156"/>
                <a:gd name="connsiteY19" fmla="*/ 4268405 h 4981044"/>
                <a:gd name="connsiteX20" fmla="*/ 24908 w 776156"/>
                <a:gd name="connsiteY20" fmla="*/ 2833245 h 4981044"/>
                <a:gd name="connsiteX21" fmla="*/ 263060 w 776156"/>
                <a:gd name="connsiteY21" fmla="*/ 2833245 h 4981044"/>
                <a:gd name="connsiteX22" fmla="*/ 263060 w 776156"/>
                <a:gd name="connsiteY22" fmla="*/ 2466866 h 4981044"/>
                <a:gd name="connsiteX23" fmla="*/ 194645 w 776156"/>
                <a:gd name="connsiteY23" fmla="*/ 2466866 h 4981044"/>
                <a:gd name="connsiteX24" fmla="*/ 188295 w 776156"/>
                <a:gd name="connsiteY24" fmla="*/ 753950 h 4981044"/>
                <a:gd name="connsiteX25" fmla="*/ 251659 w 776156"/>
                <a:gd name="connsiteY25" fmla="*/ 753945 h 4981044"/>
                <a:gd name="connsiteX26" fmla="*/ 251659 w 776156"/>
                <a:gd name="connsiteY26" fmla="*/ 50425 h 4981044"/>
                <a:gd name="connsiteX27" fmla="*/ 221814 w 776156"/>
                <a:gd name="connsiteY27" fmla="*/ 50425 h 4981044"/>
                <a:gd name="connsiteX28" fmla="*/ 221814 w 776156"/>
                <a:gd name="connsiteY28" fmla="*/ 0 h 4981044"/>
                <a:gd name="connsiteX29" fmla="*/ 419135 w 776156"/>
                <a:gd name="connsiteY29" fmla="*/ 0 h 4981044"/>
                <a:gd name="connsiteX30" fmla="*/ 419135 w 776156"/>
                <a:gd name="connsiteY30" fmla="*/ 50425 h 4981044"/>
                <a:gd name="connsiteX31" fmla="*/ 388485 w 776156"/>
                <a:gd name="connsiteY31" fmla="*/ 50425 h 4981044"/>
                <a:gd name="connsiteX32" fmla="*/ 388485 w 776156"/>
                <a:gd name="connsiteY32" fmla="*/ 762889 h 4981044"/>
                <a:gd name="connsiteX33" fmla="*/ 529065 w 776156"/>
                <a:gd name="connsiteY33" fmla="*/ 762889 h 4981044"/>
                <a:gd name="connsiteX34" fmla="*/ 526752 w 776156"/>
                <a:gd name="connsiteY34" fmla="*/ 50425 h 4981044"/>
                <a:gd name="connsiteX35" fmla="*/ 500420 w 776156"/>
                <a:gd name="connsiteY35" fmla="*/ 50425 h 4981044"/>
                <a:gd name="connsiteX36" fmla="*/ 500420 w 776156"/>
                <a:gd name="connsiteY36" fmla="*/ 0 h 4981044"/>
                <a:gd name="connsiteX37" fmla="*/ 697741 w 776156"/>
                <a:gd name="connsiteY37" fmla="*/ 0 h 4981044"/>
                <a:gd name="connsiteX38" fmla="*/ 697741 w 776156"/>
                <a:gd name="connsiteY38" fmla="*/ 50425 h 4981044"/>
                <a:gd name="connsiteX39" fmla="*/ 667555 w 776156"/>
                <a:gd name="connsiteY39" fmla="*/ 50425 h 4981044"/>
                <a:gd name="connsiteX40" fmla="*/ 673538 w 776156"/>
                <a:gd name="connsiteY40" fmla="*/ 767946 h 4981044"/>
                <a:gd name="connsiteX41" fmla="*/ 776156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24908 w 776156"/>
                <a:gd name="connsiteY19" fmla="*/ 2833245 h 4981044"/>
                <a:gd name="connsiteX20" fmla="*/ 263060 w 776156"/>
                <a:gd name="connsiteY20" fmla="*/ 2833245 h 4981044"/>
                <a:gd name="connsiteX21" fmla="*/ 263060 w 776156"/>
                <a:gd name="connsiteY21" fmla="*/ 2466866 h 4981044"/>
                <a:gd name="connsiteX22" fmla="*/ 194645 w 776156"/>
                <a:gd name="connsiteY22" fmla="*/ 2466866 h 4981044"/>
                <a:gd name="connsiteX23" fmla="*/ 188295 w 776156"/>
                <a:gd name="connsiteY23" fmla="*/ 753950 h 4981044"/>
                <a:gd name="connsiteX24" fmla="*/ 251659 w 776156"/>
                <a:gd name="connsiteY24" fmla="*/ 753945 h 4981044"/>
                <a:gd name="connsiteX25" fmla="*/ 251659 w 776156"/>
                <a:gd name="connsiteY25" fmla="*/ 50425 h 4981044"/>
                <a:gd name="connsiteX26" fmla="*/ 221814 w 776156"/>
                <a:gd name="connsiteY26" fmla="*/ 50425 h 4981044"/>
                <a:gd name="connsiteX27" fmla="*/ 221814 w 776156"/>
                <a:gd name="connsiteY27" fmla="*/ 0 h 4981044"/>
                <a:gd name="connsiteX28" fmla="*/ 419135 w 776156"/>
                <a:gd name="connsiteY28" fmla="*/ 0 h 4981044"/>
                <a:gd name="connsiteX29" fmla="*/ 419135 w 776156"/>
                <a:gd name="connsiteY29" fmla="*/ 50425 h 4981044"/>
                <a:gd name="connsiteX30" fmla="*/ 388485 w 776156"/>
                <a:gd name="connsiteY30" fmla="*/ 50425 h 4981044"/>
                <a:gd name="connsiteX31" fmla="*/ 388485 w 776156"/>
                <a:gd name="connsiteY31" fmla="*/ 762889 h 4981044"/>
                <a:gd name="connsiteX32" fmla="*/ 529065 w 776156"/>
                <a:gd name="connsiteY32" fmla="*/ 762889 h 4981044"/>
                <a:gd name="connsiteX33" fmla="*/ 526752 w 776156"/>
                <a:gd name="connsiteY33" fmla="*/ 50425 h 4981044"/>
                <a:gd name="connsiteX34" fmla="*/ 500420 w 776156"/>
                <a:gd name="connsiteY34" fmla="*/ 50425 h 4981044"/>
                <a:gd name="connsiteX35" fmla="*/ 500420 w 776156"/>
                <a:gd name="connsiteY35" fmla="*/ 0 h 4981044"/>
                <a:gd name="connsiteX36" fmla="*/ 697741 w 776156"/>
                <a:gd name="connsiteY36" fmla="*/ 0 h 4981044"/>
                <a:gd name="connsiteX37" fmla="*/ 697741 w 776156"/>
                <a:gd name="connsiteY37" fmla="*/ 50425 h 4981044"/>
                <a:gd name="connsiteX38" fmla="*/ 667555 w 776156"/>
                <a:gd name="connsiteY38" fmla="*/ 50425 h 4981044"/>
                <a:gd name="connsiteX39" fmla="*/ 673538 w 776156"/>
                <a:gd name="connsiteY39" fmla="*/ 767946 h 4981044"/>
                <a:gd name="connsiteX40" fmla="*/ 776156 w 776156"/>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9899 w 791238"/>
                <a:gd name="connsiteY20" fmla="*/ 2839662 h 4981044"/>
                <a:gd name="connsiteX21" fmla="*/ 278142 w 791238"/>
                <a:gd name="connsiteY21" fmla="*/ 2833245 h 4981044"/>
                <a:gd name="connsiteX22" fmla="*/ 278142 w 791238"/>
                <a:gd name="connsiteY22" fmla="*/ 2466866 h 4981044"/>
                <a:gd name="connsiteX23" fmla="*/ 209727 w 791238"/>
                <a:gd name="connsiteY23" fmla="*/ 2466866 h 4981044"/>
                <a:gd name="connsiteX24" fmla="*/ 203377 w 791238"/>
                <a:gd name="connsiteY24" fmla="*/ 753950 h 4981044"/>
                <a:gd name="connsiteX25" fmla="*/ 266741 w 791238"/>
                <a:gd name="connsiteY25" fmla="*/ 753945 h 4981044"/>
                <a:gd name="connsiteX26" fmla="*/ 266741 w 791238"/>
                <a:gd name="connsiteY26" fmla="*/ 50425 h 4981044"/>
                <a:gd name="connsiteX27" fmla="*/ 236896 w 791238"/>
                <a:gd name="connsiteY27" fmla="*/ 50425 h 4981044"/>
                <a:gd name="connsiteX28" fmla="*/ 236896 w 791238"/>
                <a:gd name="connsiteY28" fmla="*/ 0 h 4981044"/>
                <a:gd name="connsiteX29" fmla="*/ 434217 w 791238"/>
                <a:gd name="connsiteY29" fmla="*/ 0 h 4981044"/>
                <a:gd name="connsiteX30" fmla="*/ 434217 w 791238"/>
                <a:gd name="connsiteY30" fmla="*/ 50425 h 4981044"/>
                <a:gd name="connsiteX31" fmla="*/ 403567 w 791238"/>
                <a:gd name="connsiteY31" fmla="*/ 50425 h 4981044"/>
                <a:gd name="connsiteX32" fmla="*/ 403567 w 791238"/>
                <a:gd name="connsiteY32" fmla="*/ 762889 h 4981044"/>
                <a:gd name="connsiteX33" fmla="*/ 544147 w 791238"/>
                <a:gd name="connsiteY33" fmla="*/ 762889 h 4981044"/>
                <a:gd name="connsiteX34" fmla="*/ 541834 w 791238"/>
                <a:gd name="connsiteY34" fmla="*/ 50425 h 4981044"/>
                <a:gd name="connsiteX35" fmla="*/ 515502 w 791238"/>
                <a:gd name="connsiteY35" fmla="*/ 50425 h 4981044"/>
                <a:gd name="connsiteX36" fmla="*/ 515502 w 791238"/>
                <a:gd name="connsiteY36" fmla="*/ 0 h 4981044"/>
                <a:gd name="connsiteX37" fmla="*/ 712823 w 791238"/>
                <a:gd name="connsiteY37" fmla="*/ 0 h 4981044"/>
                <a:gd name="connsiteX38" fmla="*/ 712823 w 791238"/>
                <a:gd name="connsiteY38" fmla="*/ 50425 h 4981044"/>
                <a:gd name="connsiteX39" fmla="*/ 682637 w 791238"/>
                <a:gd name="connsiteY39" fmla="*/ 50425 h 4981044"/>
                <a:gd name="connsiteX40" fmla="*/ 688620 w 791238"/>
                <a:gd name="connsiteY40" fmla="*/ 767946 h 4981044"/>
                <a:gd name="connsiteX41" fmla="*/ 791238 w 791238"/>
                <a:gd name="connsiteY41"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57653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63408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5520 w 795520"/>
                <a:gd name="connsiteY0" fmla="*/ 767946 h 4981044"/>
                <a:gd name="connsiteX1" fmla="*/ 795520 w 795520"/>
                <a:gd name="connsiteY1" fmla="*/ 2466866 h 4981044"/>
                <a:gd name="connsiteX2" fmla="*/ 692902 w 795520"/>
                <a:gd name="connsiteY2" fmla="*/ 2466866 h 4981044"/>
                <a:gd name="connsiteX3" fmla="*/ 692902 w 795520"/>
                <a:gd name="connsiteY3" fmla="*/ 4815708 h 4981044"/>
                <a:gd name="connsiteX4" fmla="*/ 573819 w 795520"/>
                <a:gd name="connsiteY4" fmla="*/ 4963451 h 4981044"/>
                <a:gd name="connsiteX5" fmla="*/ 136721 w 795520"/>
                <a:gd name="connsiteY5" fmla="*/ 4957476 h 4981044"/>
                <a:gd name="connsiteX6" fmla="*/ 69789 w 795520"/>
                <a:gd name="connsiteY6" fmla="*/ 4956960 h 4981044"/>
                <a:gd name="connsiteX7" fmla="*/ 69789 w 795520"/>
                <a:gd name="connsiteY7" fmla="*/ 4981044 h 4981044"/>
                <a:gd name="connsiteX8" fmla="*/ 19364 w 795520"/>
                <a:gd name="connsiteY8" fmla="*/ 4981044 h 4981044"/>
                <a:gd name="connsiteX9" fmla="*/ 19364 w 795520"/>
                <a:gd name="connsiteY9" fmla="*/ 4766062 h 4981044"/>
                <a:gd name="connsiteX10" fmla="*/ 69789 w 795520"/>
                <a:gd name="connsiteY10" fmla="*/ 4770477 h 4981044"/>
                <a:gd name="connsiteX11" fmla="*/ 69789 w 795520"/>
                <a:gd name="connsiteY11" fmla="*/ 4798418 h 4981044"/>
                <a:gd name="connsiteX12" fmla="*/ 260628 w 795520"/>
                <a:gd name="connsiteY12" fmla="*/ 4799395 h 4981044"/>
                <a:gd name="connsiteX13" fmla="*/ 493436 w 795520"/>
                <a:gd name="connsiteY13" fmla="*/ 4796168 h 4981044"/>
                <a:gd name="connsiteX14" fmla="*/ 567477 w 795520"/>
                <a:gd name="connsiteY14" fmla="*/ 4735896 h 4981044"/>
                <a:gd name="connsiteX15" fmla="*/ 573826 w 795520"/>
                <a:gd name="connsiteY15" fmla="*/ 2463112 h 4981044"/>
                <a:gd name="connsiteX16" fmla="*/ 394858 w 795520"/>
                <a:gd name="connsiteY16" fmla="*/ 2464702 h 4981044"/>
                <a:gd name="connsiteX17" fmla="*/ 391679 w 795520"/>
                <a:gd name="connsiteY17" fmla="*/ 2928149 h 4981044"/>
                <a:gd name="connsiteX18" fmla="*/ 316429 w 795520"/>
                <a:gd name="connsiteY18" fmla="*/ 3063417 h 4981044"/>
                <a:gd name="connsiteX19" fmla="*/ 4282 w 795520"/>
                <a:gd name="connsiteY19" fmla="*/ 3066061 h 4981044"/>
                <a:gd name="connsiteX20" fmla="*/ 9129 w 795520"/>
                <a:gd name="connsiteY20" fmla="*/ 2868581 h 4981044"/>
                <a:gd name="connsiteX21" fmla="*/ 279789 w 795520"/>
                <a:gd name="connsiteY21" fmla="*/ 2797923 h 4981044"/>
                <a:gd name="connsiteX22" fmla="*/ 282424 w 795520"/>
                <a:gd name="connsiteY22" fmla="*/ 2466866 h 4981044"/>
                <a:gd name="connsiteX23" fmla="*/ 214009 w 795520"/>
                <a:gd name="connsiteY23" fmla="*/ 2466866 h 4981044"/>
                <a:gd name="connsiteX24" fmla="*/ 207659 w 795520"/>
                <a:gd name="connsiteY24" fmla="*/ 753950 h 4981044"/>
                <a:gd name="connsiteX25" fmla="*/ 271023 w 795520"/>
                <a:gd name="connsiteY25" fmla="*/ 753945 h 4981044"/>
                <a:gd name="connsiteX26" fmla="*/ 271023 w 795520"/>
                <a:gd name="connsiteY26" fmla="*/ 50425 h 4981044"/>
                <a:gd name="connsiteX27" fmla="*/ 241178 w 795520"/>
                <a:gd name="connsiteY27" fmla="*/ 50425 h 4981044"/>
                <a:gd name="connsiteX28" fmla="*/ 241178 w 795520"/>
                <a:gd name="connsiteY28" fmla="*/ 0 h 4981044"/>
                <a:gd name="connsiteX29" fmla="*/ 438499 w 795520"/>
                <a:gd name="connsiteY29" fmla="*/ 0 h 4981044"/>
                <a:gd name="connsiteX30" fmla="*/ 438499 w 795520"/>
                <a:gd name="connsiteY30" fmla="*/ 50425 h 4981044"/>
                <a:gd name="connsiteX31" fmla="*/ 407849 w 795520"/>
                <a:gd name="connsiteY31" fmla="*/ 50425 h 4981044"/>
                <a:gd name="connsiteX32" fmla="*/ 407849 w 795520"/>
                <a:gd name="connsiteY32" fmla="*/ 762889 h 4981044"/>
                <a:gd name="connsiteX33" fmla="*/ 548429 w 795520"/>
                <a:gd name="connsiteY33" fmla="*/ 762889 h 4981044"/>
                <a:gd name="connsiteX34" fmla="*/ 546116 w 795520"/>
                <a:gd name="connsiteY34" fmla="*/ 50425 h 4981044"/>
                <a:gd name="connsiteX35" fmla="*/ 519784 w 795520"/>
                <a:gd name="connsiteY35" fmla="*/ 50425 h 4981044"/>
                <a:gd name="connsiteX36" fmla="*/ 519784 w 795520"/>
                <a:gd name="connsiteY36" fmla="*/ 0 h 4981044"/>
                <a:gd name="connsiteX37" fmla="*/ 717105 w 795520"/>
                <a:gd name="connsiteY37" fmla="*/ 0 h 4981044"/>
                <a:gd name="connsiteX38" fmla="*/ 717105 w 795520"/>
                <a:gd name="connsiteY38" fmla="*/ 50425 h 4981044"/>
                <a:gd name="connsiteX39" fmla="*/ 686919 w 795520"/>
                <a:gd name="connsiteY39" fmla="*/ 50425 h 4981044"/>
                <a:gd name="connsiteX40" fmla="*/ 692902 w 795520"/>
                <a:gd name="connsiteY40" fmla="*/ 767946 h 4981044"/>
                <a:gd name="connsiteX41" fmla="*/ 795520 w 795520"/>
                <a:gd name="connsiteY41" fmla="*/ 767946 h 4981044"/>
                <a:gd name="connsiteX0" fmla="*/ 788795 w 788795"/>
                <a:gd name="connsiteY0" fmla="*/ 767946 h 4981044"/>
                <a:gd name="connsiteX1" fmla="*/ 788795 w 788795"/>
                <a:gd name="connsiteY1" fmla="*/ 2466866 h 4981044"/>
                <a:gd name="connsiteX2" fmla="*/ 686177 w 788795"/>
                <a:gd name="connsiteY2" fmla="*/ 2466866 h 4981044"/>
                <a:gd name="connsiteX3" fmla="*/ 686177 w 788795"/>
                <a:gd name="connsiteY3" fmla="*/ 4815708 h 4981044"/>
                <a:gd name="connsiteX4" fmla="*/ 567094 w 788795"/>
                <a:gd name="connsiteY4" fmla="*/ 4963451 h 4981044"/>
                <a:gd name="connsiteX5" fmla="*/ 129996 w 788795"/>
                <a:gd name="connsiteY5" fmla="*/ 4957476 h 4981044"/>
                <a:gd name="connsiteX6" fmla="*/ 63064 w 788795"/>
                <a:gd name="connsiteY6" fmla="*/ 4956960 h 4981044"/>
                <a:gd name="connsiteX7" fmla="*/ 63064 w 788795"/>
                <a:gd name="connsiteY7" fmla="*/ 4981044 h 4981044"/>
                <a:gd name="connsiteX8" fmla="*/ 12639 w 788795"/>
                <a:gd name="connsiteY8" fmla="*/ 4981044 h 4981044"/>
                <a:gd name="connsiteX9" fmla="*/ 12639 w 788795"/>
                <a:gd name="connsiteY9" fmla="*/ 4766062 h 4981044"/>
                <a:gd name="connsiteX10" fmla="*/ 63064 w 788795"/>
                <a:gd name="connsiteY10" fmla="*/ 4770477 h 4981044"/>
                <a:gd name="connsiteX11" fmla="*/ 63064 w 788795"/>
                <a:gd name="connsiteY11" fmla="*/ 4798418 h 4981044"/>
                <a:gd name="connsiteX12" fmla="*/ 253903 w 788795"/>
                <a:gd name="connsiteY12" fmla="*/ 4799395 h 4981044"/>
                <a:gd name="connsiteX13" fmla="*/ 486711 w 788795"/>
                <a:gd name="connsiteY13" fmla="*/ 4796168 h 4981044"/>
                <a:gd name="connsiteX14" fmla="*/ 560752 w 788795"/>
                <a:gd name="connsiteY14" fmla="*/ 4735896 h 4981044"/>
                <a:gd name="connsiteX15" fmla="*/ 567101 w 788795"/>
                <a:gd name="connsiteY15" fmla="*/ 2463112 h 4981044"/>
                <a:gd name="connsiteX16" fmla="*/ 388133 w 788795"/>
                <a:gd name="connsiteY16" fmla="*/ 2464702 h 4981044"/>
                <a:gd name="connsiteX17" fmla="*/ 384954 w 788795"/>
                <a:gd name="connsiteY17" fmla="*/ 2928149 h 4981044"/>
                <a:gd name="connsiteX18" fmla="*/ 309704 w 788795"/>
                <a:gd name="connsiteY18" fmla="*/ 3063417 h 4981044"/>
                <a:gd name="connsiteX19" fmla="*/ 18644 w 788795"/>
                <a:gd name="connsiteY19" fmla="*/ 3079313 h 4981044"/>
                <a:gd name="connsiteX20" fmla="*/ 2404 w 788795"/>
                <a:gd name="connsiteY20" fmla="*/ 2868581 h 4981044"/>
                <a:gd name="connsiteX21" fmla="*/ 273064 w 788795"/>
                <a:gd name="connsiteY21" fmla="*/ 2797923 h 4981044"/>
                <a:gd name="connsiteX22" fmla="*/ 275699 w 788795"/>
                <a:gd name="connsiteY22" fmla="*/ 2466866 h 4981044"/>
                <a:gd name="connsiteX23" fmla="*/ 207284 w 788795"/>
                <a:gd name="connsiteY23" fmla="*/ 2466866 h 4981044"/>
                <a:gd name="connsiteX24" fmla="*/ 200934 w 788795"/>
                <a:gd name="connsiteY24" fmla="*/ 753950 h 4981044"/>
                <a:gd name="connsiteX25" fmla="*/ 264298 w 788795"/>
                <a:gd name="connsiteY25" fmla="*/ 753945 h 4981044"/>
                <a:gd name="connsiteX26" fmla="*/ 264298 w 788795"/>
                <a:gd name="connsiteY26" fmla="*/ 50425 h 4981044"/>
                <a:gd name="connsiteX27" fmla="*/ 234453 w 788795"/>
                <a:gd name="connsiteY27" fmla="*/ 50425 h 4981044"/>
                <a:gd name="connsiteX28" fmla="*/ 234453 w 788795"/>
                <a:gd name="connsiteY28" fmla="*/ 0 h 4981044"/>
                <a:gd name="connsiteX29" fmla="*/ 431774 w 788795"/>
                <a:gd name="connsiteY29" fmla="*/ 0 h 4981044"/>
                <a:gd name="connsiteX30" fmla="*/ 431774 w 788795"/>
                <a:gd name="connsiteY30" fmla="*/ 50425 h 4981044"/>
                <a:gd name="connsiteX31" fmla="*/ 401124 w 788795"/>
                <a:gd name="connsiteY31" fmla="*/ 50425 h 4981044"/>
                <a:gd name="connsiteX32" fmla="*/ 401124 w 788795"/>
                <a:gd name="connsiteY32" fmla="*/ 762889 h 4981044"/>
                <a:gd name="connsiteX33" fmla="*/ 541704 w 788795"/>
                <a:gd name="connsiteY33" fmla="*/ 762889 h 4981044"/>
                <a:gd name="connsiteX34" fmla="*/ 539391 w 788795"/>
                <a:gd name="connsiteY34" fmla="*/ 50425 h 4981044"/>
                <a:gd name="connsiteX35" fmla="*/ 513059 w 788795"/>
                <a:gd name="connsiteY35" fmla="*/ 50425 h 4981044"/>
                <a:gd name="connsiteX36" fmla="*/ 513059 w 788795"/>
                <a:gd name="connsiteY36" fmla="*/ 0 h 4981044"/>
                <a:gd name="connsiteX37" fmla="*/ 710380 w 788795"/>
                <a:gd name="connsiteY37" fmla="*/ 0 h 4981044"/>
                <a:gd name="connsiteX38" fmla="*/ 710380 w 788795"/>
                <a:gd name="connsiteY38" fmla="*/ 50425 h 4981044"/>
                <a:gd name="connsiteX39" fmla="*/ 680194 w 788795"/>
                <a:gd name="connsiteY39" fmla="*/ 50425 h 4981044"/>
                <a:gd name="connsiteX40" fmla="*/ 686177 w 788795"/>
                <a:gd name="connsiteY40" fmla="*/ 767946 h 4981044"/>
                <a:gd name="connsiteX41" fmla="*/ 788795 w 78879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94442 w 794442"/>
                <a:gd name="connsiteY0" fmla="*/ 767946 h 4981044"/>
                <a:gd name="connsiteX1" fmla="*/ 794442 w 794442"/>
                <a:gd name="connsiteY1" fmla="*/ 2466866 h 4981044"/>
                <a:gd name="connsiteX2" fmla="*/ 691824 w 794442"/>
                <a:gd name="connsiteY2" fmla="*/ 2466866 h 4981044"/>
                <a:gd name="connsiteX3" fmla="*/ 691824 w 794442"/>
                <a:gd name="connsiteY3" fmla="*/ 4815708 h 4981044"/>
                <a:gd name="connsiteX4" fmla="*/ 572741 w 794442"/>
                <a:gd name="connsiteY4" fmla="*/ 4963451 h 4981044"/>
                <a:gd name="connsiteX5" fmla="*/ 135643 w 794442"/>
                <a:gd name="connsiteY5" fmla="*/ 4957476 h 4981044"/>
                <a:gd name="connsiteX6" fmla="*/ 68711 w 794442"/>
                <a:gd name="connsiteY6" fmla="*/ 4956960 h 4981044"/>
                <a:gd name="connsiteX7" fmla="*/ 68711 w 794442"/>
                <a:gd name="connsiteY7" fmla="*/ 4981044 h 4981044"/>
                <a:gd name="connsiteX8" fmla="*/ 18286 w 794442"/>
                <a:gd name="connsiteY8" fmla="*/ 4981044 h 4981044"/>
                <a:gd name="connsiteX9" fmla="*/ 18286 w 794442"/>
                <a:gd name="connsiteY9" fmla="*/ 4766062 h 4981044"/>
                <a:gd name="connsiteX10" fmla="*/ 68711 w 794442"/>
                <a:gd name="connsiteY10" fmla="*/ 4770477 h 4981044"/>
                <a:gd name="connsiteX11" fmla="*/ 68711 w 794442"/>
                <a:gd name="connsiteY11" fmla="*/ 4798418 h 4981044"/>
                <a:gd name="connsiteX12" fmla="*/ 259550 w 794442"/>
                <a:gd name="connsiteY12" fmla="*/ 4799395 h 4981044"/>
                <a:gd name="connsiteX13" fmla="*/ 492358 w 794442"/>
                <a:gd name="connsiteY13" fmla="*/ 4796168 h 4981044"/>
                <a:gd name="connsiteX14" fmla="*/ 566399 w 794442"/>
                <a:gd name="connsiteY14" fmla="*/ 4735896 h 4981044"/>
                <a:gd name="connsiteX15" fmla="*/ 572748 w 794442"/>
                <a:gd name="connsiteY15" fmla="*/ 2463112 h 4981044"/>
                <a:gd name="connsiteX16" fmla="*/ 393780 w 794442"/>
                <a:gd name="connsiteY16" fmla="*/ 2464702 h 4981044"/>
                <a:gd name="connsiteX17" fmla="*/ 390601 w 794442"/>
                <a:gd name="connsiteY17" fmla="*/ 2928149 h 4981044"/>
                <a:gd name="connsiteX18" fmla="*/ 315351 w 794442"/>
                <a:gd name="connsiteY18" fmla="*/ 3063417 h 4981044"/>
                <a:gd name="connsiteX19" fmla="*/ 24291 w 794442"/>
                <a:gd name="connsiteY19" fmla="*/ 3079313 h 4981044"/>
                <a:gd name="connsiteX20" fmla="*/ 16616 w 794442"/>
                <a:gd name="connsiteY20" fmla="*/ 2904423 h 4981044"/>
                <a:gd name="connsiteX21" fmla="*/ 23866 w 794442"/>
                <a:gd name="connsiteY21" fmla="*/ 2877413 h 4981044"/>
                <a:gd name="connsiteX22" fmla="*/ 278711 w 794442"/>
                <a:gd name="connsiteY22" fmla="*/ 2797923 h 4981044"/>
                <a:gd name="connsiteX23" fmla="*/ 281346 w 794442"/>
                <a:gd name="connsiteY23" fmla="*/ 2466866 h 4981044"/>
                <a:gd name="connsiteX24" fmla="*/ 212931 w 794442"/>
                <a:gd name="connsiteY24" fmla="*/ 2466866 h 4981044"/>
                <a:gd name="connsiteX25" fmla="*/ 206581 w 794442"/>
                <a:gd name="connsiteY25" fmla="*/ 753950 h 4981044"/>
                <a:gd name="connsiteX26" fmla="*/ 269945 w 794442"/>
                <a:gd name="connsiteY26" fmla="*/ 753945 h 4981044"/>
                <a:gd name="connsiteX27" fmla="*/ 269945 w 794442"/>
                <a:gd name="connsiteY27" fmla="*/ 50425 h 4981044"/>
                <a:gd name="connsiteX28" fmla="*/ 240100 w 794442"/>
                <a:gd name="connsiteY28" fmla="*/ 50425 h 4981044"/>
                <a:gd name="connsiteX29" fmla="*/ 240100 w 794442"/>
                <a:gd name="connsiteY29" fmla="*/ 0 h 4981044"/>
                <a:gd name="connsiteX30" fmla="*/ 437421 w 794442"/>
                <a:gd name="connsiteY30" fmla="*/ 0 h 4981044"/>
                <a:gd name="connsiteX31" fmla="*/ 437421 w 794442"/>
                <a:gd name="connsiteY31" fmla="*/ 50425 h 4981044"/>
                <a:gd name="connsiteX32" fmla="*/ 406771 w 794442"/>
                <a:gd name="connsiteY32" fmla="*/ 50425 h 4981044"/>
                <a:gd name="connsiteX33" fmla="*/ 406771 w 794442"/>
                <a:gd name="connsiteY33" fmla="*/ 762889 h 4981044"/>
                <a:gd name="connsiteX34" fmla="*/ 547351 w 794442"/>
                <a:gd name="connsiteY34" fmla="*/ 762889 h 4981044"/>
                <a:gd name="connsiteX35" fmla="*/ 545038 w 794442"/>
                <a:gd name="connsiteY35" fmla="*/ 50425 h 4981044"/>
                <a:gd name="connsiteX36" fmla="*/ 518706 w 794442"/>
                <a:gd name="connsiteY36" fmla="*/ 50425 h 4981044"/>
                <a:gd name="connsiteX37" fmla="*/ 518706 w 794442"/>
                <a:gd name="connsiteY37" fmla="*/ 0 h 4981044"/>
                <a:gd name="connsiteX38" fmla="*/ 716027 w 794442"/>
                <a:gd name="connsiteY38" fmla="*/ 0 h 4981044"/>
                <a:gd name="connsiteX39" fmla="*/ 716027 w 794442"/>
                <a:gd name="connsiteY39" fmla="*/ 50425 h 4981044"/>
                <a:gd name="connsiteX40" fmla="*/ 685841 w 794442"/>
                <a:gd name="connsiteY40" fmla="*/ 50425 h 4981044"/>
                <a:gd name="connsiteX41" fmla="*/ 691824 w 794442"/>
                <a:gd name="connsiteY41" fmla="*/ 767946 h 4981044"/>
                <a:gd name="connsiteX42" fmla="*/ 794442 w 79444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19206 w 789782"/>
                <a:gd name="connsiteY21" fmla="*/ 2877413 h 4981044"/>
                <a:gd name="connsiteX22" fmla="*/ 274051 w 789782"/>
                <a:gd name="connsiteY22" fmla="*/ 2797923 h 4981044"/>
                <a:gd name="connsiteX23" fmla="*/ 276686 w 789782"/>
                <a:gd name="connsiteY23" fmla="*/ 2466866 h 4981044"/>
                <a:gd name="connsiteX24" fmla="*/ 208271 w 789782"/>
                <a:gd name="connsiteY24" fmla="*/ 2466866 h 4981044"/>
                <a:gd name="connsiteX25" fmla="*/ 201921 w 789782"/>
                <a:gd name="connsiteY25" fmla="*/ 753950 h 4981044"/>
                <a:gd name="connsiteX26" fmla="*/ 265285 w 789782"/>
                <a:gd name="connsiteY26" fmla="*/ 753945 h 4981044"/>
                <a:gd name="connsiteX27" fmla="*/ 265285 w 789782"/>
                <a:gd name="connsiteY27" fmla="*/ 50425 h 4981044"/>
                <a:gd name="connsiteX28" fmla="*/ 235440 w 789782"/>
                <a:gd name="connsiteY28" fmla="*/ 50425 h 4981044"/>
                <a:gd name="connsiteX29" fmla="*/ 235440 w 789782"/>
                <a:gd name="connsiteY29" fmla="*/ 0 h 4981044"/>
                <a:gd name="connsiteX30" fmla="*/ 432761 w 789782"/>
                <a:gd name="connsiteY30" fmla="*/ 0 h 4981044"/>
                <a:gd name="connsiteX31" fmla="*/ 432761 w 789782"/>
                <a:gd name="connsiteY31" fmla="*/ 50425 h 4981044"/>
                <a:gd name="connsiteX32" fmla="*/ 402111 w 789782"/>
                <a:gd name="connsiteY32" fmla="*/ 50425 h 4981044"/>
                <a:gd name="connsiteX33" fmla="*/ 402111 w 789782"/>
                <a:gd name="connsiteY33" fmla="*/ 762889 h 4981044"/>
                <a:gd name="connsiteX34" fmla="*/ 542691 w 789782"/>
                <a:gd name="connsiteY34" fmla="*/ 762889 h 4981044"/>
                <a:gd name="connsiteX35" fmla="*/ 540378 w 789782"/>
                <a:gd name="connsiteY35" fmla="*/ 50425 h 4981044"/>
                <a:gd name="connsiteX36" fmla="*/ 514046 w 789782"/>
                <a:gd name="connsiteY36" fmla="*/ 50425 h 4981044"/>
                <a:gd name="connsiteX37" fmla="*/ 514046 w 789782"/>
                <a:gd name="connsiteY37" fmla="*/ 0 h 4981044"/>
                <a:gd name="connsiteX38" fmla="*/ 711367 w 789782"/>
                <a:gd name="connsiteY38" fmla="*/ 0 h 4981044"/>
                <a:gd name="connsiteX39" fmla="*/ 711367 w 789782"/>
                <a:gd name="connsiteY39" fmla="*/ 50425 h 4981044"/>
                <a:gd name="connsiteX40" fmla="*/ 681181 w 789782"/>
                <a:gd name="connsiteY40" fmla="*/ 50425 h 4981044"/>
                <a:gd name="connsiteX41" fmla="*/ 687164 w 789782"/>
                <a:gd name="connsiteY41" fmla="*/ 767946 h 4981044"/>
                <a:gd name="connsiteX42" fmla="*/ 789782 w 78978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27772 w 789782"/>
                <a:gd name="connsiteY21" fmla="*/ 2763116 h 4981044"/>
                <a:gd name="connsiteX22" fmla="*/ 19206 w 789782"/>
                <a:gd name="connsiteY22" fmla="*/ 2877413 h 4981044"/>
                <a:gd name="connsiteX23" fmla="*/ 274051 w 789782"/>
                <a:gd name="connsiteY23" fmla="*/ 2797923 h 4981044"/>
                <a:gd name="connsiteX24" fmla="*/ 276686 w 789782"/>
                <a:gd name="connsiteY24" fmla="*/ 2466866 h 4981044"/>
                <a:gd name="connsiteX25" fmla="*/ 208271 w 789782"/>
                <a:gd name="connsiteY25" fmla="*/ 2466866 h 4981044"/>
                <a:gd name="connsiteX26" fmla="*/ 201921 w 789782"/>
                <a:gd name="connsiteY26" fmla="*/ 753950 h 4981044"/>
                <a:gd name="connsiteX27" fmla="*/ 265285 w 789782"/>
                <a:gd name="connsiteY27" fmla="*/ 753945 h 4981044"/>
                <a:gd name="connsiteX28" fmla="*/ 265285 w 789782"/>
                <a:gd name="connsiteY28" fmla="*/ 50425 h 4981044"/>
                <a:gd name="connsiteX29" fmla="*/ 235440 w 789782"/>
                <a:gd name="connsiteY29" fmla="*/ 50425 h 4981044"/>
                <a:gd name="connsiteX30" fmla="*/ 235440 w 789782"/>
                <a:gd name="connsiteY30" fmla="*/ 0 h 4981044"/>
                <a:gd name="connsiteX31" fmla="*/ 432761 w 789782"/>
                <a:gd name="connsiteY31" fmla="*/ 0 h 4981044"/>
                <a:gd name="connsiteX32" fmla="*/ 432761 w 789782"/>
                <a:gd name="connsiteY32" fmla="*/ 50425 h 4981044"/>
                <a:gd name="connsiteX33" fmla="*/ 402111 w 789782"/>
                <a:gd name="connsiteY33" fmla="*/ 50425 h 4981044"/>
                <a:gd name="connsiteX34" fmla="*/ 402111 w 789782"/>
                <a:gd name="connsiteY34" fmla="*/ 762889 h 4981044"/>
                <a:gd name="connsiteX35" fmla="*/ 542691 w 789782"/>
                <a:gd name="connsiteY35" fmla="*/ 762889 h 4981044"/>
                <a:gd name="connsiteX36" fmla="*/ 540378 w 789782"/>
                <a:gd name="connsiteY36" fmla="*/ 50425 h 4981044"/>
                <a:gd name="connsiteX37" fmla="*/ 514046 w 789782"/>
                <a:gd name="connsiteY37" fmla="*/ 50425 h 4981044"/>
                <a:gd name="connsiteX38" fmla="*/ 514046 w 789782"/>
                <a:gd name="connsiteY38" fmla="*/ 0 h 4981044"/>
                <a:gd name="connsiteX39" fmla="*/ 711367 w 789782"/>
                <a:gd name="connsiteY39" fmla="*/ 0 h 4981044"/>
                <a:gd name="connsiteX40" fmla="*/ 711367 w 789782"/>
                <a:gd name="connsiteY40" fmla="*/ 50425 h 4981044"/>
                <a:gd name="connsiteX41" fmla="*/ 681181 w 789782"/>
                <a:gd name="connsiteY41" fmla="*/ 50425 h 4981044"/>
                <a:gd name="connsiteX42" fmla="*/ 687164 w 789782"/>
                <a:gd name="connsiteY42" fmla="*/ 767946 h 4981044"/>
                <a:gd name="connsiteX43" fmla="*/ 789782 w 789782"/>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789612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855846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6903 w 809457"/>
                <a:gd name="connsiteY20" fmla="*/ 3085471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5272 w 809457"/>
                <a:gd name="connsiteY20" fmla="*/ 3089886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4267 w 809457"/>
                <a:gd name="connsiteY20" fmla="*/ 3081056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9538 w 809457"/>
                <a:gd name="connsiteY20" fmla="*/ 3147292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78885 w 811900"/>
                <a:gd name="connsiteY23" fmla="*/ 2824947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39980 w 810131"/>
                <a:gd name="connsiteY19" fmla="*/ 3079313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90295 w 810131"/>
                <a:gd name="connsiteY20" fmla="*/ 3129637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63260 w 783096"/>
                <a:gd name="connsiteY20" fmla="*/ 3129637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63417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072230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83604" h="4981044">
                  <a:moveTo>
                    <a:pt x="783604" y="767946"/>
                  </a:moveTo>
                  <a:lnTo>
                    <a:pt x="783604" y="2466866"/>
                  </a:lnTo>
                  <a:lnTo>
                    <a:pt x="680986" y="2466866"/>
                  </a:lnTo>
                  <a:lnTo>
                    <a:pt x="680986" y="4815708"/>
                  </a:lnTo>
                  <a:cubicBezTo>
                    <a:pt x="673923" y="4935865"/>
                    <a:pt x="631394" y="4962055"/>
                    <a:pt x="561903" y="4963451"/>
                  </a:cubicBezTo>
                  <a:lnTo>
                    <a:pt x="124805" y="4957476"/>
                  </a:lnTo>
                  <a:lnTo>
                    <a:pt x="57873" y="4956960"/>
                  </a:lnTo>
                  <a:lnTo>
                    <a:pt x="57873" y="4981044"/>
                  </a:lnTo>
                  <a:lnTo>
                    <a:pt x="7448" y="4981044"/>
                  </a:lnTo>
                  <a:lnTo>
                    <a:pt x="7448" y="4766062"/>
                  </a:lnTo>
                  <a:lnTo>
                    <a:pt x="57873" y="4770477"/>
                  </a:lnTo>
                  <a:lnTo>
                    <a:pt x="57873" y="4798418"/>
                  </a:lnTo>
                  <a:lnTo>
                    <a:pt x="248712" y="4799395"/>
                  </a:lnTo>
                  <a:lnTo>
                    <a:pt x="481520" y="4796168"/>
                  </a:lnTo>
                  <a:cubicBezTo>
                    <a:pt x="534776" y="4794004"/>
                    <a:pt x="549930" y="4790450"/>
                    <a:pt x="555561" y="4735896"/>
                  </a:cubicBezTo>
                  <a:cubicBezTo>
                    <a:pt x="557677" y="3978301"/>
                    <a:pt x="559794" y="3220707"/>
                    <a:pt x="561910" y="2463112"/>
                  </a:cubicBezTo>
                  <a:cubicBezTo>
                    <a:pt x="502784" y="2465228"/>
                    <a:pt x="408541" y="2466450"/>
                    <a:pt x="382942" y="2464702"/>
                  </a:cubicBezTo>
                  <a:cubicBezTo>
                    <a:pt x="381161" y="2477247"/>
                    <a:pt x="382399" y="2667869"/>
                    <a:pt x="382399" y="2870749"/>
                  </a:cubicBezTo>
                  <a:cubicBezTo>
                    <a:pt x="354098" y="2968568"/>
                    <a:pt x="350921" y="2967345"/>
                    <a:pt x="299241" y="3023687"/>
                  </a:cubicBezTo>
                  <a:lnTo>
                    <a:pt x="58266" y="3026342"/>
                  </a:lnTo>
                  <a:cubicBezTo>
                    <a:pt x="58343" y="3049002"/>
                    <a:pt x="55784" y="3053992"/>
                    <a:pt x="55861" y="3076652"/>
                  </a:cubicBezTo>
                  <a:lnTo>
                    <a:pt x="506" y="3072230"/>
                  </a:lnTo>
                  <a:cubicBezTo>
                    <a:pt x="-1251" y="2975084"/>
                    <a:pt x="2265" y="2926508"/>
                    <a:pt x="508" y="2829362"/>
                  </a:cubicBezTo>
                  <a:lnTo>
                    <a:pt x="50589" y="2824947"/>
                  </a:lnTo>
                  <a:cubicBezTo>
                    <a:pt x="51248" y="2838021"/>
                    <a:pt x="49271" y="2859928"/>
                    <a:pt x="49930" y="2873002"/>
                  </a:cubicBezTo>
                  <a:cubicBezTo>
                    <a:pt x="187666" y="2857759"/>
                    <a:pt x="233454" y="2894317"/>
                    <a:pt x="267873" y="2797923"/>
                  </a:cubicBezTo>
                  <a:cubicBezTo>
                    <a:pt x="268751" y="2687571"/>
                    <a:pt x="269630" y="2577218"/>
                    <a:pt x="270508" y="2466866"/>
                  </a:cubicBezTo>
                  <a:lnTo>
                    <a:pt x="202093" y="2466866"/>
                  </a:lnTo>
                  <a:cubicBezTo>
                    <a:pt x="199976" y="1895894"/>
                    <a:pt x="197860" y="1324922"/>
                    <a:pt x="195743" y="753950"/>
                  </a:cubicBezTo>
                  <a:lnTo>
                    <a:pt x="259107" y="753945"/>
                  </a:lnTo>
                  <a:lnTo>
                    <a:pt x="259107" y="50425"/>
                  </a:lnTo>
                  <a:lnTo>
                    <a:pt x="229262" y="50425"/>
                  </a:lnTo>
                  <a:lnTo>
                    <a:pt x="229262" y="0"/>
                  </a:lnTo>
                  <a:lnTo>
                    <a:pt x="426583" y="0"/>
                  </a:lnTo>
                  <a:lnTo>
                    <a:pt x="426583" y="50425"/>
                  </a:lnTo>
                  <a:lnTo>
                    <a:pt x="395933" y="50425"/>
                  </a:lnTo>
                  <a:lnTo>
                    <a:pt x="395933" y="762889"/>
                  </a:lnTo>
                  <a:lnTo>
                    <a:pt x="536513" y="762889"/>
                  </a:lnTo>
                  <a:lnTo>
                    <a:pt x="534200" y="50425"/>
                  </a:lnTo>
                  <a:lnTo>
                    <a:pt x="507868" y="50425"/>
                  </a:lnTo>
                  <a:lnTo>
                    <a:pt x="507868" y="0"/>
                  </a:lnTo>
                  <a:lnTo>
                    <a:pt x="705189" y="0"/>
                  </a:lnTo>
                  <a:lnTo>
                    <a:pt x="705189" y="50425"/>
                  </a:lnTo>
                  <a:lnTo>
                    <a:pt x="675003" y="50425"/>
                  </a:lnTo>
                  <a:cubicBezTo>
                    <a:pt x="676997" y="289599"/>
                    <a:pt x="678992" y="528772"/>
                    <a:pt x="680986" y="767946"/>
                  </a:cubicBezTo>
                  <a:lnTo>
                    <a:pt x="783604" y="767946"/>
                  </a:lnTo>
                  <a:close/>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37" name="직사각형 236"/>
            <p:cNvSpPr/>
            <p:nvPr/>
          </p:nvSpPr>
          <p:spPr>
            <a:xfrm>
              <a:off x="2229051" y="3696027"/>
              <a:ext cx="579120" cy="3505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38" name="직사각형 237"/>
            <p:cNvSpPr/>
            <p:nvPr/>
          </p:nvSpPr>
          <p:spPr>
            <a:xfrm>
              <a:off x="2194560" y="4023442"/>
              <a:ext cx="651711" cy="4571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239" name="직사각형 238"/>
          <p:cNvSpPr/>
          <p:nvPr/>
        </p:nvSpPr>
        <p:spPr>
          <a:xfrm>
            <a:off x="5410122" y="3180454"/>
            <a:ext cx="536557" cy="31804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40" name="직사각형 239"/>
          <p:cNvSpPr/>
          <p:nvPr/>
        </p:nvSpPr>
        <p:spPr>
          <a:xfrm>
            <a:off x="5378167" y="3477479"/>
            <a:ext cx="603812" cy="41475"/>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241" name="그룹 240"/>
          <p:cNvGrpSpPr/>
          <p:nvPr/>
        </p:nvGrpSpPr>
        <p:grpSpPr>
          <a:xfrm>
            <a:off x="7047312" y="2862407"/>
            <a:ext cx="2488631" cy="656547"/>
            <a:chOff x="405454" y="3345439"/>
            <a:chExt cx="2686047" cy="723722"/>
          </a:xfrm>
        </p:grpSpPr>
        <p:sp>
          <p:nvSpPr>
            <p:cNvPr id="242" name="자유형 241"/>
            <p:cNvSpPr/>
            <p:nvPr/>
          </p:nvSpPr>
          <p:spPr>
            <a:xfrm rot="16200000">
              <a:off x="1394524" y="2356369"/>
              <a:ext cx="707908" cy="2686047"/>
            </a:xfrm>
            <a:custGeom>
              <a:avLst/>
              <a:gdLst>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14916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195594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034102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53199 w 776156"/>
                <a:gd name="connsiteY18" fmla="*/ 3013913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94660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29316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69428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8120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22326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809 w 776156"/>
                <a:gd name="connsiteY19" fmla="*/ 4268405 h 4981044"/>
                <a:gd name="connsiteX20" fmla="*/ 24908 w 776156"/>
                <a:gd name="connsiteY20" fmla="*/ 2833245 h 4981044"/>
                <a:gd name="connsiteX21" fmla="*/ 263060 w 776156"/>
                <a:gd name="connsiteY21" fmla="*/ 2833245 h 4981044"/>
                <a:gd name="connsiteX22" fmla="*/ 263060 w 776156"/>
                <a:gd name="connsiteY22" fmla="*/ 2466866 h 4981044"/>
                <a:gd name="connsiteX23" fmla="*/ 194645 w 776156"/>
                <a:gd name="connsiteY23" fmla="*/ 2466866 h 4981044"/>
                <a:gd name="connsiteX24" fmla="*/ 188295 w 776156"/>
                <a:gd name="connsiteY24" fmla="*/ 753950 h 4981044"/>
                <a:gd name="connsiteX25" fmla="*/ 251659 w 776156"/>
                <a:gd name="connsiteY25" fmla="*/ 753945 h 4981044"/>
                <a:gd name="connsiteX26" fmla="*/ 251659 w 776156"/>
                <a:gd name="connsiteY26" fmla="*/ 50425 h 4981044"/>
                <a:gd name="connsiteX27" fmla="*/ 221814 w 776156"/>
                <a:gd name="connsiteY27" fmla="*/ 50425 h 4981044"/>
                <a:gd name="connsiteX28" fmla="*/ 221814 w 776156"/>
                <a:gd name="connsiteY28" fmla="*/ 0 h 4981044"/>
                <a:gd name="connsiteX29" fmla="*/ 419135 w 776156"/>
                <a:gd name="connsiteY29" fmla="*/ 0 h 4981044"/>
                <a:gd name="connsiteX30" fmla="*/ 419135 w 776156"/>
                <a:gd name="connsiteY30" fmla="*/ 50425 h 4981044"/>
                <a:gd name="connsiteX31" fmla="*/ 388485 w 776156"/>
                <a:gd name="connsiteY31" fmla="*/ 50425 h 4981044"/>
                <a:gd name="connsiteX32" fmla="*/ 388485 w 776156"/>
                <a:gd name="connsiteY32" fmla="*/ 762889 h 4981044"/>
                <a:gd name="connsiteX33" fmla="*/ 529065 w 776156"/>
                <a:gd name="connsiteY33" fmla="*/ 762889 h 4981044"/>
                <a:gd name="connsiteX34" fmla="*/ 526752 w 776156"/>
                <a:gd name="connsiteY34" fmla="*/ 50425 h 4981044"/>
                <a:gd name="connsiteX35" fmla="*/ 500420 w 776156"/>
                <a:gd name="connsiteY35" fmla="*/ 50425 h 4981044"/>
                <a:gd name="connsiteX36" fmla="*/ 500420 w 776156"/>
                <a:gd name="connsiteY36" fmla="*/ 0 h 4981044"/>
                <a:gd name="connsiteX37" fmla="*/ 697741 w 776156"/>
                <a:gd name="connsiteY37" fmla="*/ 0 h 4981044"/>
                <a:gd name="connsiteX38" fmla="*/ 697741 w 776156"/>
                <a:gd name="connsiteY38" fmla="*/ 50425 h 4981044"/>
                <a:gd name="connsiteX39" fmla="*/ 667555 w 776156"/>
                <a:gd name="connsiteY39" fmla="*/ 50425 h 4981044"/>
                <a:gd name="connsiteX40" fmla="*/ 673538 w 776156"/>
                <a:gd name="connsiteY40" fmla="*/ 767946 h 4981044"/>
                <a:gd name="connsiteX41" fmla="*/ 776156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24908 w 776156"/>
                <a:gd name="connsiteY19" fmla="*/ 2833245 h 4981044"/>
                <a:gd name="connsiteX20" fmla="*/ 263060 w 776156"/>
                <a:gd name="connsiteY20" fmla="*/ 2833245 h 4981044"/>
                <a:gd name="connsiteX21" fmla="*/ 263060 w 776156"/>
                <a:gd name="connsiteY21" fmla="*/ 2466866 h 4981044"/>
                <a:gd name="connsiteX22" fmla="*/ 194645 w 776156"/>
                <a:gd name="connsiteY22" fmla="*/ 2466866 h 4981044"/>
                <a:gd name="connsiteX23" fmla="*/ 188295 w 776156"/>
                <a:gd name="connsiteY23" fmla="*/ 753950 h 4981044"/>
                <a:gd name="connsiteX24" fmla="*/ 251659 w 776156"/>
                <a:gd name="connsiteY24" fmla="*/ 753945 h 4981044"/>
                <a:gd name="connsiteX25" fmla="*/ 251659 w 776156"/>
                <a:gd name="connsiteY25" fmla="*/ 50425 h 4981044"/>
                <a:gd name="connsiteX26" fmla="*/ 221814 w 776156"/>
                <a:gd name="connsiteY26" fmla="*/ 50425 h 4981044"/>
                <a:gd name="connsiteX27" fmla="*/ 221814 w 776156"/>
                <a:gd name="connsiteY27" fmla="*/ 0 h 4981044"/>
                <a:gd name="connsiteX28" fmla="*/ 419135 w 776156"/>
                <a:gd name="connsiteY28" fmla="*/ 0 h 4981044"/>
                <a:gd name="connsiteX29" fmla="*/ 419135 w 776156"/>
                <a:gd name="connsiteY29" fmla="*/ 50425 h 4981044"/>
                <a:gd name="connsiteX30" fmla="*/ 388485 w 776156"/>
                <a:gd name="connsiteY30" fmla="*/ 50425 h 4981044"/>
                <a:gd name="connsiteX31" fmla="*/ 388485 w 776156"/>
                <a:gd name="connsiteY31" fmla="*/ 762889 h 4981044"/>
                <a:gd name="connsiteX32" fmla="*/ 529065 w 776156"/>
                <a:gd name="connsiteY32" fmla="*/ 762889 h 4981044"/>
                <a:gd name="connsiteX33" fmla="*/ 526752 w 776156"/>
                <a:gd name="connsiteY33" fmla="*/ 50425 h 4981044"/>
                <a:gd name="connsiteX34" fmla="*/ 500420 w 776156"/>
                <a:gd name="connsiteY34" fmla="*/ 50425 h 4981044"/>
                <a:gd name="connsiteX35" fmla="*/ 500420 w 776156"/>
                <a:gd name="connsiteY35" fmla="*/ 0 h 4981044"/>
                <a:gd name="connsiteX36" fmla="*/ 697741 w 776156"/>
                <a:gd name="connsiteY36" fmla="*/ 0 h 4981044"/>
                <a:gd name="connsiteX37" fmla="*/ 697741 w 776156"/>
                <a:gd name="connsiteY37" fmla="*/ 50425 h 4981044"/>
                <a:gd name="connsiteX38" fmla="*/ 667555 w 776156"/>
                <a:gd name="connsiteY38" fmla="*/ 50425 h 4981044"/>
                <a:gd name="connsiteX39" fmla="*/ 673538 w 776156"/>
                <a:gd name="connsiteY39" fmla="*/ 767946 h 4981044"/>
                <a:gd name="connsiteX40" fmla="*/ 776156 w 776156"/>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9899 w 791238"/>
                <a:gd name="connsiteY20" fmla="*/ 2839662 h 4981044"/>
                <a:gd name="connsiteX21" fmla="*/ 278142 w 791238"/>
                <a:gd name="connsiteY21" fmla="*/ 2833245 h 4981044"/>
                <a:gd name="connsiteX22" fmla="*/ 278142 w 791238"/>
                <a:gd name="connsiteY22" fmla="*/ 2466866 h 4981044"/>
                <a:gd name="connsiteX23" fmla="*/ 209727 w 791238"/>
                <a:gd name="connsiteY23" fmla="*/ 2466866 h 4981044"/>
                <a:gd name="connsiteX24" fmla="*/ 203377 w 791238"/>
                <a:gd name="connsiteY24" fmla="*/ 753950 h 4981044"/>
                <a:gd name="connsiteX25" fmla="*/ 266741 w 791238"/>
                <a:gd name="connsiteY25" fmla="*/ 753945 h 4981044"/>
                <a:gd name="connsiteX26" fmla="*/ 266741 w 791238"/>
                <a:gd name="connsiteY26" fmla="*/ 50425 h 4981044"/>
                <a:gd name="connsiteX27" fmla="*/ 236896 w 791238"/>
                <a:gd name="connsiteY27" fmla="*/ 50425 h 4981044"/>
                <a:gd name="connsiteX28" fmla="*/ 236896 w 791238"/>
                <a:gd name="connsiteY28" fmla="*/ 0 h 4981044"/>
                <a:gd name="connsiteX29" fmla="*/ 434217 w 791238"/>
                <a:gd name="connsiteY29" fmla="*/ 0 h 4981044"/>
                <a:gd name="connsiteX30" fmla="*/ 434217 w 791238"/>
                <a:gd name="connsiteY30" fmla="*/ 50425 h 4981044"/>
                <a:gd name="connsiteX31" fmla="*/ 403567 w 791238"/>
                <a:gd name="connsiteY31" fmla="*/ 50425 h 4981044"/>
                <a:gd name="connsiteX32" fmla="*/ 403567 w 791238"/>
                <a:gd name="connsiteY32" fmla="*/ 762889 h 4981044"/>
                <a:gd name="connsiteX33" fmla="*/ 544147 w 791238"/>
                <a:gd name="connsiteY33" fmla="*/ 762889 h 4981044"/>
                <a:gd name="connsiteX34" fmla="*/ 541834 w 791238"/>
                <a:gd name="connsiteY34" fmla="*/ 50425 h 4981044"/>
                <a:gd name="connsiteX35" fmla="*/ 515502 w 791238"/>
                <a:gd name="connsiteY35" fmla="*/ 50425 h 4981044"/>
                <a:gd name="connsiteX36" fmla="*/ 515502 w 791238"/>
                <a:gd name="connsiteY36" fmla="*/ 0 h 4981044"/>
                <a:gd name="connsiteX37" fmla="*/ 712823 w 791238"/>
                <a:gd name="connsiteY37" fmla="*/ 0 h 4981044"/>
                <a:gd name="connsiteX38" fmla="*/ 712823 w 791238"/>
                <a:gd name="connsiteY38" fmla="*/ 50425 h 4981044"/>
                <a:gd name="connsiteX39" fmla="*/ 682637 w 791238"/>
                <a:gd name="connsiteY39" fmla="*/ 50425 h 4981044"/>
                <a:gd name="connsiteX40" fmla="*/ 688620 w 791238"/>
                <a:gd name="connsiteY40" fmla="*/ 767946 h 4981044"/>
                <a:gd name="connsiteX41" fmla="*/ 791238 w 791238"/>
                <a:gd name="connsiteY41"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57653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63408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5520 w 795520"/>
                <a:gd name="connsiteY0" fmla="*/ 767946 h 4981044"/>
                <a:gd name="connsiteX1" fmla="*/ 795520 w 795520"/>
                <a:gd name="connsiteY1" fmla="*/ 2466866 h 4981044"/>
                <a:gd name="connsiteX2" fmla="*/ 692902 w 795520"/>
                <a:gd name="connsiteY2" fmla="*/ 2466866 h 4981044"/>
                <a:gd name="connsiteX3" fmla="*/ 692902 w 795520"/>
                <a:gd name="connsiteY3" fmla="*/ 4815708 h 4981044"/>
                <a:gd name="connsiteX4" fmla="*/ 573819 w 795520"/>
                <a:gd name="connsiteY4" fmla="*/ 4963451 h 4981044"/>
                <a:gd name="connsiteX5" fmla="*/ 136721 w 795520"/>
                <a:gd name="connsiteY5" fmla="*/ 4957476 h 4981044"/>
                <a:gd name="connsiteX6" fmla="*/ 69789 w 795520"/>
                <a:gd name="connsiteY6" fmla="*/ 4956960 h 4981044"/>
                <a:gd name="connsiteX7" fmla="*/ 69789 w 795520"/>
                <a:gd name="connsiteY7" fmla="*/ 4981044 h 4981044"/>
                <a:gd name="connsiteX8" fmla="*/ 19364 w 795520"/>
                <a:gd name="connsiteY8" fmla="*/ 4981044 h 4981044"/>
                <a:gd name="connsiteX9" fmla="*/ 19364 w 795520"/>
                <a:gd name="connsiteY9" fmla="*/ 4766062 h 4981044"/>
                <a:gd name="connsiteX10" fmla="*/ 69789 w 795520"/>
                <a:gd name="connsiteY10" fmla="*/ 4770477 h 4981044"/>
                <a:gd name="connsiteX11" fmla="*/ 69789 w 795520"/>
                <a:gd name="connsiteY11" fmla="*/ 4798418 h 4981044"/>
                <a:gd name="connsiteX12" fmla="*/ 260628 w 795520"/>
                <a:gd name="connsiteY12" fmla="*/ 4799395 h 4981044"/>
                <a:gd name="connsiteX13" fmla="*/ 493436 w 795520"/>
                <a:gd name="connsiteY13" fmla="*/ 4796168 h 4981044"/>
                <a:gd name="connsiteX14" fmla="*/ 567477 w 795520"/>
                <a:gd name="connsiteY14" fmla="*/ 4735896 h 4981044"/>
                <a:gd name="connsiteX15" fmla="*/ 573826 w 795520"/>
                <a:gd name="connsiteY15" fmla="*/ 2463112 h 4981044"/>
                <a:gd name="connsiteX16" fmla="*/ 394858 w 795520"/>
                <a:gd name="connsiteY16" fmla="*/ 2464702 h 4981044"/>
                <a:gd name="connsiteX17" fmla="*/ 391679 w 795520"/>
                <a:gd name="connsiteY17" fmla="*/ 2928149 h 4981044"/>
                <a:gd name="connsiteX18" fmla="*/ 316429 w 795520"/>
                <a:gd name="connsiteY18" fmla="*/ 3063417 h 4981044"/>
                <a:gd name="connsiteX19" fmla="*/ 4282 w 795520"/>
                <a:gd name="connsiteY19" fmla="*/ 3066061 h 4981044"/>
                <a:gd name="connsiteX20" fmla="*/ 9129 w 795520"/>
                <a:gd name="connsiteY20" fmla="*/ 2868581 h 4981044"/>
                <a:gd name="connsiteX21" fmla="*/ 279789 w 795520"/>
                <a:gd name="connsiteY21" fmla="*/ 2797923 h 4981044"/>
                <a:gd name="connsiteX22" fmla="*/ 282424 w 795520"/>
                <a:gd name="connsiteY22" fmla="*/ 2466866 h 4981044"/>
                <a:gd name="connsiteX23" fmla="*/ 214009 w 795520"/>
                <a:gd name="connsiteY23" fmla="*/ 2466866 h 4981044"/>
                <a:gd name="connsiteX24" fmla="*/ 207659 w 795520"/>
                <a:gd name="connsiteY24" fmla="*/ 753950 h 4981044"/>
                <a:gd name="connsiteX25" fmla="*/ 271023 w 795520"/>
                <a:gd name="connsiteY25" fmla="*/ 753945 h 4981044"/>
                <a:gd name="connsiteX26" fmla="*/ 271023 w 795520"/>
                <a:gd name="connsiteY26" fmla="*/ 50425 h 4981044"/>
                <a:gd name="connsiteX27" fmla="*/ 241178 w 795520"/>
                <a:gd name="connsiteY27" fmla="*/ 50425 h 4981044"/>
                <a:gd name="connsiteX28" fmla="*/ 241178 w 795520"/>
                <a:gd name="connsiteY28" fmla="*/ 0 h 4981044"/>
                <a:gd name="connsiteX29" fmla="*/ 438499 w 795520"/>
                <a:gd name="connsiteY29" fmla="*/ 0 h 4981044"/>
                <a:gd name="connsiteX30" fmla="*/ 438499 w 795520"/>
                <a:gd name="connsiteY30" fmla="*/ 50425 h 4981044"/>
                <a:gd name="connsiteX31" fmla="*/ 407849 w 795520"/>
                <a:gd name="connsiteY31" fmla="*/ 50425 h 4981044"/>
                <a:gd name="connsiteX32" fmla="*/ 407849 w 795520"/>
                <a:gd name="connsiteY32" fmla="*/ 762889 h 4981044"/>
                <a:gd name="connsiteX33" fmla="*/ 548429 w 795520"/>
                <a:gd name="connsiteY33" fmla="*/ 762889 h 4981044"/>
                <a:gd name="connsiteX34" fmla="*/ 546116 w 795520"/>
                <a:gd name="connsiteY34" fmla="*/ 50425 h 4981044"/>
                <a:gd name="connsiteX35" fmla="*/ 519784 w 795520"/>
                <a:gd name="connsiteY35" fmla="*/ 50425 h 4981044"/>
                <a:gd name="connsiteX36" fmla="*/ 519784 w 795520"/>
                <a:gd name="connsiteY36" fmla="*/ 0 h 4981044"/>
                <a:gd name="connsiteX37" fmla="*/ 717105 w 795520"/>
                <a:gd name="connsiteY37" fmla="*/ 0 h 4981044"/>
                <a:gd name="connsiteX38" fmla="*/ 717105 w 795520"/>
                <a:gd name="connsiteY38" fmla="*/ 50425 h 4981044"/>
                <a:gd name="connsiteX39" fmla="*/ 686919 w 795520"/>
                <a:gd name="connsiteY39" fmla="*/ 50425 h 4981044"/>
                <a:gd name="connsiteX40" fmla="*/ 692902 w 795520"/>
                <a:gd name="connsiteY40" fmla="*/ 767946 h 4981044"/>
                <a:gd name="connsiteX41" fmla="*/ 795520 w 795520"/>
                <a:gd name="connsiteY41" fmla="*/ 767946 h 4981044"/>
                <a:gd name="connsiteX0" fmla="*/ 788795 w 788795"/>
                <a:gd name="connsiteY0" fmla="*/ 767946 h 4981044"/>
                <a:gd name="connsiteX1" fmla="*/ 788795 w 788795"/>
                <a:gd name="connsiteY1" fmla="*/ 2466866 h 4981044"/>
                <a:gd name="connsiteX2" fmla="*/ 686177 w 788795"/>
                <a:gd name="connsiteY2" fmla="*/ 2466866 h 4981044"/>
                <a:gd name="connsiteX3" fmla="*/ 686177 w 788795"/>
                <a:gd name="connsiteY3" fmla="*/ 4815708 h 4981044"/>
                <a:gd name="connsiteX4" fmla="*/ 567094 w 788795"/>
                <a:gd name="connsiteY4" fmla="*/ 4963451 h 4981044"/>
                <a:gd name="connsiteX5" fmla="*/ 129996 w 788795"/>
                <a:gd name="connsiteY5" fmla="*/ 4957476 h 4981044"/>
                <a:gd name="connsiteX6" fmla="*/ 63064 w 788795"/>
                <a:gd name="connsiteY6" fmla="*/ 4956960 h 4981044"/>
                <a:gd name="connsiteX7" fmla="*/ 63064 w 788795"/>
                <a:gd name="connsiteY7" fmla="*/ 4981044 h 4981044"/>
                <a:gd name="connsiteX8" fmla="*/ 12639 w 788795"/>
                <a:gd name="connsiteY8" fmla="*/ 4981044 h 4981044"/>
                <a:gd name="connsiteX9" fmla="*/ 12639 w 788795"/>
                <a:gd name="connsiteY9" fmla="*/ 4766062 h 4981044"/>
                <a:gd name="connsiteX10" fmla="*/ 63064 w 788795"/>
                <a:gd name="connsiteY10" fmla="*/ 4770477 h 4981044"/>
                <a:gd name="connsiteX11" fmla="*/ 63064 w 788795"/>
                <a:gd name="connsiteY11" fmla="*/ 4798418 h 4981044"/>
                <a:gd name="connsiteX12" fmla="*/ 253903 w 788795"/>
                <a:gd name="connsiteY12" fmla="*/ 4799395 h 4981044"/>
                <a:gd name="connsiteX13" fmla="*/ 486711 w 788795"/>
                <a:gd name="connsiteY13" fmla="*/ 4796168 h 4981044"/>
                <a:gd name="connsiteX14" fmla="*/ 560752 w 788795"/>
                <a:gd name="connsiteY14" fmla="*/ 4735896 h 4981044"/>
                <a:gd name="connsiteX15" fmla="*/ 567101 w 788795"/>
                <a:gd name="connsiteY15" fmla="*/ 2463112 h 4981044"/>
                <a:gd name="connsiteX16" fmla="*/ 388133 w 788795"/>
                <a:gd name="connsiteY16" fmla="*/ 2464702 h 4981044"/>
                <a:gd name="connsiteX17" fmla="*/ 384954 w 788795"/>
                <a:gd name="connsiteY17" fmla="*/ 2928149 h 4981044"/>
                <a:gd name="connsiteX18" fmla="*/ 309704 w 788795"/>
                <a:gd name="connsiteY18" fmla="*/ 3063417 h 4981044"/>
                <a:gd name="connsiteX19" fmla="*/ 18644 w 788795"/>
                <a:gd name="connsiteY19" fmla="*/ 3079313 h 4981044"/>
                <a:gd name="connsiteX20" fmla="*/ 2404 w 788795"/>
                <a:gd name="connsiteY20" fmla="*/ 2868581 h 4981044"/>
                <a:gd name="connsiteX21" fmla="*/ 273064 w 788795"/>
                <a:gd name="connsiteY21" fmla="*/ 2797923 h 4981044"/>
                <a:gd name="connsiteX22" fmla="*/ 275699 w 788795"/>
                <a:gd name="connsiteY22" fmla="*/ 2466866 h 4981044"/>
                <a:gd name="connsiteX23" fmla="*/ 207284 w 788795"/>
                <a:gd name="connsiteY23" fmla="*/ 2466866 h 4981044"/>
                <a:gd name="connsiteX24" fmla="*/ 200934 w 788795"/>
                <a:gd name="connsiteY24" fmla="*/ 753950 h 4981044"/>
                <a:gd name="connsiteX25" fmla="*/ 264298 w 788795"/>
                <a:gd name="connsiteY25" fmla="*/ 753945 h 4981044"/>
                <a:gd name="connsiteX26" fmla="*/ 264298 w 788795"/>
                <a:gd name="connsiteY26" fmla="*/ 50425 h 4981044"/>
                <a:gd name="connsiteX27" fmla="*/ 234453 w 788795"/>
                <a:gd name="connsiteY27" fmla="*/ 50425 h 4981044"/>
                <a:gd name="connsiteX28" fmla="*/ 234453 w 788795"/>
                <a:gd name="connsiteY28" fmla="*/ 0 h 4981044"/>
                <a:gd name="connsiteX29" fmla="*/ 431774 w 788795"/>
                <a:gd name="connsiteY29" fmla="*/ 0 h 4981044"/>
                <a:gd name="connsiteX30" fmla="*/ 431774 w 788795"/>
                <a:gd name="connsiteY30" fmla="*/ 50425 h 4981044"/>
                <a:gd name="connsiteX31" fmla="*/ 401124 w 788795"/>
                <a:gd name="connsiteY31" fmla="*/ 50425 h 4981044"/>
                <a:gd name="connsiteX32" fmla="*/ 401124 w 788795"/>
                <a:gd name="connsiteY32" fmla="*/ 762889 h 4981044"/>
                <a:gd name="connsiteX33" fmla="*/ 541704 w 788795"/>
                <a:gd name="connsiteY33" fmla="*/ 762889 h 4981044"/>
                <a:gd name="connsiteX34" fmla="*/ 539391 w 788795"/>
                <a:gd name="connsiteY34" fmla="*/ 50425 h 4981044"/>
                <a:gd name="connsiteX35" fmla="*/ 513059 w 788795"/>
                <a:gd name="connsiteY35" fmla="*/ 50425 h 4981044"/>
                <a:gd name="connsiteX36" fmla="*/ 513059 w 788795"/>
                <a:gd name="connsiteY36" fmla="*/ 0 h 4981044"/>
                <a:gd name="connsiteX37" fmla="*/ 710380 w 788795"/>
                <a:gd name="connsiteY37" fmla="*/ 0 h 4981044"/>
                <a:gd name="connsiteX38" fmla="*/ 710380 w 788795"/>
                <a:gd name="connsiteY38" fmla="*/ 50425 h 4981044"/>
                <a:gd name="connsiteX39" fmla="*/ 680194 w 788795"/>
                <a:gd name="connsiteY39" fmla="*/ 50425 h 4981044"/>
                <a:gd name="connsiteX40" fmla="*/ 686177 w 788795"/>
                <a:gd name="connsiteY40" fmla="*/ 767946 h 4981044"/>
                <a:gd name="connsiteX41" fmla="*/ 788795 w 78879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94442 w 794442"/>
                <a:gd name="connsiteY0" fmla="*/ 767946 h 4981044"/>
                <a:gd name="connsiteX1" fmla="*/ 794442 w 794442"/>
                <a:gd name="connsiteY1" fmla="*/ 2466866 h 4981044"/>
                <a:gd name="connsiteX2" fmla="*/ 691824 w 794442"/>
                <a:gd name="connsiteY2" fmla="*/ 2466866 h 4981044"/>
                <a:gd name="connsiteX3" fmla="*/ 691824 w 794442"/>
                <a:gd name="connsiteY3" fmla="*/ 4815708 h 4981044"/>
                <a:gd name="connsiteX4" fmla="*/ 572741 w 794442"/>
                <a:gd name="connsiteY4" fmla="*/ 4963451 h 4981044"/>
                <a:gd name="connsiteX5" fmla="*/ 135643 w 794442"/>
                <a:gd name="connsiteY5" fmla="*/ 4957476 h 4981044"/>
                <a:gd name="connsiteX6" fmla="*/ 68711 w 794442"/>
                <a:gd name="connsiteY6" fmla="*/ 4956960 h 4981044"/>
                <a:gd name="connsiteX7" fmla="*/ 68711 w 794442"/>
                <a:gd name="connsiteY7" fmla="*/ 4981044 h 4981044"/>
                <a:gd name="connsiteX8" fmla="*/ 18286 w 794442"/>
                <a:gd name="connsiteY8" fmla="*/ 4981044 h 4981044"/>
                <a:gd name="connsiteX9" fmla="*/ 18286 w 794442"/>
                <a:gd name="connsiteY9" fmla="*/ 4766062 h 4981044"/>
                <a:gd name="connsiteX10" fmla="*/ 68711 w 794442"/>
                <a:gd name="connsiteY10" fmla="*/ 4770477 h 4981044"/>
                <a:gd name="connsiteX11" fmla="*/ 68711 w 794442"/>
                <a:gd name="connsiteY11" fmla="*/ 4798418 h 4981044"/>
                <a:gd name="connsiteX12" fmla="*/ 259550 w 794442"/>
                <a:gd name="connsiteY12" fmla="*/ 4799395 h 4981044"/>
                <a:gd name="connsiteX13" fmla="*/ 492358 w 794442"/>
                <a:gd name="connsiteY13" fmla="*/ 4796168 h 4981044"/>
                <a:gd name="connsiteX14" fmla="*/ 566399 w 794442"/>
                <a:gd name="connsiteY14" fmla="*/ 4735896 h 4981044"/>
                <a:gd name="connsiteX15" fmla="*/ 572748 w 794442"/>
                <a:gd name="connsiteY15" fmla="*/ 2463112 h 4981044"/>
                <a:gd name="connsiteX16" fmla="*/ 393780 w 794442"/>
                <a:gd name="connsiteY16" fmla="*/ 2464702 h 4981044"/>
                <a:gd name="connsiteX17" fmla="*/ 390601 w 794442"/>
                <a:gd name="connsiteY17" fmla="*/ 2928149 h 4981044"/>
                <a:gd name="connsiteX18" fmla="*/ 315351 w 794442"/>
                <a:gd name="connsiteY18" fmla="*/ 3063417 h 4981044"/>
                <a:gd name="connsiteX19" fmla="*/ 24291 w 794442"/>
                <a:gd name="connsiteY19" fmla="*/ 3079313 h 4981044"/>
                <a:gd name="connsiteX20" fmla="*/ 16616 w 794442"/>
                <a:gd name="connsiteY20" fmla="*/ 2904423 h 4981044"/>
                <a:gd name="connsiteX21" fmla="*/ 23866 w 794442"/>
                <a:gd name="connsiteY21" fmla="*/ 2877413 h 4981044"/>
                <a:gd name="connsiteX22" fmla="*/ 278711 w 794442"/>
                <a:gd name="connsiteY22" fmla="*/ 2797923 h 4981044"/>
                <a:gd name="connsiteX23" fmla="*/ 281346 w 794442"/>
                <a:gd name="connsiteY23" fmla="*/ 2466866 h 4981044"/>
                <a:gd name="connsiteX24" fmla="*/ 212931 w 794442"/>
                <a:gd name="connsiteY24" fmla="*/ 2466866 h 4981044"/>
                <a:gd name="connsiteX25" fmla="*/ 206581 w 794442"/>
                <a:gd name="connsiteY25" fmla="*/ 753950 h 4981044"/>
                <a:gd name="connsiteX26" fmla="*/ 269945 w 794442"/>
                <a:gd name="connsiteY26" fmla="*/ 753945 h 4981044"/>
                <a:gd name="connsiteX27" fmla="*/ 269945 w 794442"/>
                <a:gd name="connsiteY27" fmla="*/ 50425 h 4981044"/>
                <a:gd name="connsiteX28" fmla="*/ 240100 w 794442"/>
                <a:gd name="connsiteY28" fmla="*/ 50425 h 4981044"/>
                <a:gd name="connsiteX29" fmla="*/ 240100 w 794442"/>
                <a:gd name="connsiteY29" fmla="*/ 0 h 4981044"/>
                <a:gd name="connsiteX30" fmla="*/ 437421 w 794442"/>
                <a:gd name="connsiteY30" fmla="*/ 0 h 4981044"/>
                <a:gd name="connsiteX31" fmla="*/ 437421 w 794442"/>
                <a:gd name="connsiteY31" fmla="*/ 50425 h 4981044"/>
                <a:gd name="connsiteX32" fmla="*/ 406771 w 794442"/>
                <a:gd name="connsiteY32" fmla="*/ 50425 h 4981044"/>
                <a:gd name="connsiteX33" fmla="*/ 406771 w 794442"/>
                <a:gd name="connsiteY33" fmla="*/ 762889 h 4981044"/>
                <a:gd name="connsiteX34" fmla="*/ 547351 w 794442"/>
                <a:gd name="connsiteY34" fmla="*/ 762889 h 4981044"/>
                <a:gd name="connsiteX35" fmla="*/ 545038 w 794442"/>
                <a:gd name="connsiteY35" fmla="*/ 50425 h 4981044"/>
                <a:gd name="connsiteX36" fmla="*/ 518706 w 794442"/>
                <a:gd name="connsiteY36" fmla="*/ 50425 h 4981044"/>
                <a:gd name="connsiteX37" fmla="*/ 518706 w 794442"/>
                <a:gd name="connsiteY37" fmla="*/ 0 h 4981044"/>
                <a:gd name="connsiteX38" fmla="*/ 716027 w 794442"/>
                <a:gd name="connsiteY38" fmla="*/ 0 h 4981044"/>
                <a:gd name="connsiteX39" fmla="*/ 716027 w 794442"/>
                <a:gd name="connsiteY39" fmla="*/ 50425 h 4981044"/>
                <a:gd name="connsiteX40" fmla="*/ 685841 w 794442"/>
                <a:gd name="connsiteY40" fmla="*/ 50425 h 4981044"/>
                <a:gd name="connsiteX41" fmla="*/ 691824 w 794442"/>
                <a:gd name="connsiteY41" fmla="*/ 767946 h 4981044"/>
                <a:gd name="connsiteX42" fmla="*/ 794442 w 79444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19206 w 789782"/>
                <a:gd name="connsiteY21" fmla="*/ 2877413 h 4981044"/>
                <a:gd name="connsiteX22" fmla="*/ 274051 w 789782"/>
                <a:gd name="connsiteY22" fmla="*/ 2797923 h 4981044"/>
                <a:gd name="connsiteX23" fmla="*/ 276686 w 789782"/>
                <a:gd name="connsiteY23" fmla="*/ 2466866 h 4981044"/>
                <a:gd name="connsiteX24" fmla="*/ 208271 w 789782"/>
                <a:gd name="connsiteY24" fmla="*/ 2466866 h 4981044"/>
                <a:gd name="connsiteX25" fmla="*/ 201921 w 789782"/>
                <a:gd name="connsiteY25" fmla="*/ 753950 h 4981044"/>
                <a:gd name="connsiteX26" fmla="*/ 265285 w 789782"/>
                <a:gd name="connsiteY26" fmla="*/ 753945 h 4981044"/>
                <a:gd name="connsiteX27" fmla="*/ 265285 w 789782"/>
                <a:gd name="connsiteY27" fmla="*/ 50425 h 4981044"/>
                <a:gd name="connsiteX28" fmla="*/ 235440 w 789782"/>
                <a:gd name="connsiteY28" fmla="*/ 50425 h 4981044"/>
                <a:gd name="connsiteX29" fmla="*/ 235440 w 789782"/>
                <a:gd name="connsiteY29" fmla="*/ 0 h 4981044"/>
                <a:gd name="connsiteX30" fmla="*/ 432761 w 789782"/>
                <a:gd name="connsiteY30" fmla="*/ 0 h 4981044"/>
                <a:gd name="connsiteX31" fmla="*/ 432761 w 789782"/>
                <a:gd name="connsiteY31" fmla="*/ 50425 h 4981044"/>
                <a:gd name="connsiteX32" fmla="*/ 402111 w 789782"/>
                <a:gd name="connsiteY32" fmla="*/ 50425 h 4981044"/>
                <a:gd name="connsiteX33" fmla="*/ 402111 w 789782"/>
                <a:gd name="connsiteY33" fmla="*/ 762889 h 4981044"/>
                <a:gd name="connsiteX34" fmla="*/ 542691 w 789782"/>
                <a:gd name="connsiteY34" fmla="*/ 762889 h 4981044"/>
                <a:gd name="connsiteX35" fmla="*/ 540378 w 789782"/>
                <a:gd name="connsiteY35" fmla="*/ 50425 h 4981044"/>
                <a:gd name="connsiteX36" fmla="*/ 514046 w 789782"/>
                <a:gd name="connsiteY36" fmla="*/ 50425 h 4981044"/>
                <a:gd name="connsiteX37" fmla="*/ 514046 w 789782"/>
                <a:gd name="connsiteY37" fmla="*/ 0 h 4981044"/>
                <a:gd name="connsiteX38" fmla="*/ 711367 w 789782"/>
                <a:gd name="connsiteY38" fmla="*/ 0 h 4981044"/>
                <a:gd name="connsiteX39" fmla="*/ 711367 w 789782"/>
                <a:gd name="connsiteY39" fmla="*/ 50425 h 4981044"/>
                <a:gd name="connsiteX40" fmla="*/ 681181 w 789782"/>
                <a:gd name="connsiteY40" fmla="*/ 50425 h 4981044"/>
                <a:gd name="connsiteX41" fmla="*/ 687164 w 789782"/>
                <a:gd name="connsiteY41" fmla="*/ 767946 h 4981044"/>
                <a:gd name="connsiteX42" fmla="*/ 789782 w 78978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27772 w 789782"/>
                <a:gd name="connsiteY21" fmla="*/ 2763116 h 4981044"/>
                <a:gd name="connsiteX22" fmla="*/ 19206 w 789782"/>
                <a:gd name="connsiteY22" fmla="*/ 2877413 h 4981044"/>
                <a:gd name="connsiteX23" fmla="*/ 274051 w 789782"/>
                <a:gd name="connsiteY23" fmla="*/ 2797923 h 4981044"/>
                <a:gd name="connsiteX24" fmla="*/ 276686 w 789782"/>
                <a:gd name="connsiteY24" fmla="*/ 2466866 h 4981044"/>
                <a:gd name="connsiteX25" fmla="*/ 208271 w 789782"/>
                <a:gd name="connsiteY25" fmla="*/ 2466866 h 4981044"/>
                <a:gd name="connsiteX26" fmla="*/ 201921 w 789782"/>
                <a:gd name="connsiteY26" fmla="*/ 753950 h 4981044"/>
                <a:gd name="connsiteX27" fmla="*/ 265285 w 789782"/>
                <a:gd name="connsiteY27" fmla="*/ 753945 h 4981044"/>
                <a:gd name="connsiteX28" fmla="*/ 265285 w 789782"/>
                <a:gd name="connsiteY28" fmla="*/ 50425 h 4981044"/>
                <a:gd name="connsiteX29" fmla="*/ 235440 w 789782"/>
                <a:gd name="connsiteY29" fmla="*/ 50425 h 4981044"/>
                <a:gd name="connsiteX30" fmla="*/ 235440 w 789782"/>
                <a:gd name="connsiteY30" fmla="*/ 0 h 4981044"/>
                <a:gd name="connsiteX31" fmla="*/ 432761 w 789782"/>
                <a:gd name="connsiteY31" fmla="*/ 0 h 4981044"/>
                <a:gd name="connsiteX32" fmla="*/ 432761 w 789782"/>
                <a:gd name="connsiteY32" fmla="*/ 50425 h 4981044"/>
                <a:gd name="connsiteX33" fmla="*/ 402111 w 789782"/>
                <a:gd name="connsiteY33" fmla="*/ 50425 h 4981044"/>
                <a:gd name="connsiteX34" fmla="*/ 402111 w 789782"/>
                <a:gd name="connsiteY34" fmla="*/ 762889 h 4981044"/>
                <a:gd name="connsiteX35" fmla="*/ 542691 w 789782"/>
                <a:gd name="connsiteY35" fmla="*/ 762889 h 4981044"/>
                <a:gd name="connsiteX36" fmla="*/ 540378 w 789782"/>
                <a:gd name="connsiteY36" fmla="*/ 50425 h 4981044"/>
                <a:gd name="connsiteX37" fmla="*/ 514046 w 789782"/>
                <a:gd name="connsiteY37" fmla="*/ 50425 h 4981044"/>
                <a:gd name="connsiteX38" fmla="*/ 514046 w 789782"/>
                <a:gd name="connsiteY38" fmla="*/ 0 h 4981044"/>
                <a:gd name="connsiteX39" fmla="*/ 711367 w 789782"/>
                <a:gd name="connsiteY39" fmla="*/ 0 h 4981044"/>
                <a:gd name="connsiteX40" fmla="*/ 711367 w 789782"/>
                <a:gd name="connsiteY40" fmla="*/ 50425 h 4981044"/>
                <a:gd name="connsiteX41" fmla="*/ 681181 w 789782"/>
                <a:gd name="connsiteY41" fmla="*/ 50425 h 4981044"/>
                <a:gd name="connsiteX42" fmla="*/ 687164 w 789782"/>
                <a:gd name="connsiteY42" fmla="*/ 767946 h 4981044"/>
                <a:gd name="connsiteX43" fmla="*/ 789782 w 789782"/>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789612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855846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6903 w 809457"/>
                <a:gd name="connsiteY20" fmla="*/ 3085471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5272 w 809457"/>
                <a:gd name="connsiteY20" fmla="*/ 3089886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4267 w 809457"/>
                <a:gd name="connsiteY20" fmla="*/ 3081056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9538 w 809457"/>
                <a:gd name="connsiteY20" fmla="*/ 3147292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78885 w 811900"/>
                <a:gd name="connsiteY23" fmla="*/ 2824947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39980 w 810131"/>
                <a:gd name="connsiteY19" fmla="*/ 3079313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90295 w 810131"/>
                <a:gd name="connsiteY20" fmla="*/ 3129637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63260 w 783096"/>
                <a:gd name="connsiteY20" fmla="*/ 3129637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63417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072230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83604" h="4981044">
                  <a:moveTo>
                    <a:pt x="783604" y="767946"/>
                  </a:moveTo>
                  <a:lnTo>
                    <a:pt x="783604" y="2466866"/>
                  </a:lnTo>
                  <a:lnTo>
                    <a:pt x="680986" y="2466866"/>
                  </a:lnTo>
                  <a:lnTo>
                    <a:pt x="680986" y="4815708"/>
                  </a:lnTo>
                  <a:cubicBezTo>
                    <a:pt x="673923" y="4935865"/>
                    <a:pt x="631394" y="4962055"/>
                    <a:pt x="561903" y="4963451"/>
                  </a:cubicBezTo>
                  <a:lnTo>
                    <a:pt x="124805" y="4957476"/>
                  </a:lnTo>
                  <a:lnTo>
                    <a:pt x="57873" y="4956960"/>
                  </a:lnTo>
                  <a:lnTo>
                    <a:pt x="57873" y="4981044"/>
                  </a:lnTo>
                  <a:lnTo>
                    <a:pt x="7448" y="4981044"/>
                  </a:lnTo>
                  <a:lnTo>
                    <a:pt x="7448" y="4766062"/>
                  </a:lnTo>
                  <a:lnTo>
                    <a:pt x="57873" y="4770477"/>
                  </a:lnTo>
                  <a:lnTo>
                    <a:pt x="57873" y="4798418"/>
                  </a:lnTo>
                  <a:lnTo>
                    <a:pt x="248712" y="4799395"/>
                  </a:lnTo>
                  <a:lnTo>
                    <a:pt x="481520" y="4796168"/>
                  </a:lnTo>
                  <a:cubicBezTo>
                    <a:pt x="534776" y="4794004"/>
                    <a:pt x="549930" y="4790450"/>
                    <a:pt x="555561" y="4735896"/>
                  </a:cubicBezTo>
                  <a:cubicBezTo>
                    <a:pt x="557677" y="3978301"/>
                    <a:pt x="559794" y="3220707"/>
                    <a:pt x="561910" y="2463112"/>
                  </a:cubicBezTo>
                  <a:cubicBezTo>
                    <a:pt x="502784" y="2465228"/>
                    <a:pt x="408541" y="2466450"/>
                    <a:pt x="382942" y="2464702"/>
                  </a:cubicBezTo>
                  <a:cubicBezTo>
                    <a:pt x="381161" y="2477247"/>
                    <a:pt x="382399" y="2667869"/>
                    <a:pt x="382399" y="2870749"/>
                  </a:cubicBezTo>
                  <a:cubicBezTo>
                    <a:pt x="354098" y="2968568"/>
                    <a:pt x="350921" y="2967345"/>
                    <a:pt x="299241" y="3023687"/>
                  </a:cubicBezTo>
                  <a:lnTo>
                    <a:pt x="58266" y="3026342"/>
                  </a:lnTo>
                  <a:cubicBezTo>
                    <a:pt x="58343" y="3049002"/>
                    <a:pt x="55784" y="3053992"/>
                    <a:pt x="55861" y="3076652"/>
                  </a:cubicBezTo>
                  <a:lnTo>
                    <a:pt x="506" y="3072230"/>
                  </a:lnTo>
                  <a:cubicBezTo>
                    <a:pt x="-1251" y="2975084"/>
                    <a:pt x="2265" y="2926508"/>
                    <a:pt x="508" y="2829362"/>
                  </a:cubicBezTo>
                  <a:lnTo>
                    <a:pt x="50589" y="2824947"/>
                  </a:lnTo>
                  <a:cubicBezTo>
                    <a:pt x="51248" y="2838021"/>
                    <a:pt x="49271" y="2859928"/>
                    <a:pt x="49930" y="2873002"/>
                  </a:cubicBezTo>
                  <a:cubicBezTo>
                    <a:pt x="187666" y="2857759"/>
                    <a:pt x="233454" y="2894317"/>
                    <a:pt x="267873" y="2797923"/>
                  </a:cubicBezTo>
                  <a:cubicBezTo>
                    <a:pt x="268751" y="2687571"/>
                    <a:pt x="269630" y="2577218"/>
                    <a:pt x="270508" y="2466866"/>
                  </a:cubicBezTo>
                  <a:lnTo>
                    <a:pt x="202093" y="2466866"/>
                  </a:lnTo>
                  <a:cubicBezTo>
                    <a:pt x="199976" y="1895894"/>
                    <a:pt x="197860" y="1324922"/>
                    <a:pt x="195743" y="753950"/>
                  </a:cubicBezTo>
                  <a:lnTo>
                    <a:pt x="259107" y="753945"/>
                  </a:lnTo>
                  <a:lnTo>
                    <a:pt x="259107" y="50425"/>
                  </a:lnTo>
                  <a:lnTo>
                    <a:pt x="229262" y="50425"/>
                  </a:lnTo>
                  <a:lnTo>
                    <a:pt x="229262" y="0"/>
                  </a:lnTo>
                  <a:lnTo>
                    <a:pt x="426583" y="0"/>
                  </a:lnTo>
                  <a:lnTo>
                    <a:pt x="426583" y="50425"/>
                  </a:lnTo>
                  <a:lnTo>
                    <a:pt x="395933" y="50425"/>
                  </a:lnTo>
                  <a:lnTo>
                    <a:pt x="395933" y="762889"/>
                  </a:lnTo>
                  <a:lnTo>
                    <a:pt x="536513" y="762889"/>
                  </a:lnTo>
                  <a:lnTo>
                    <a:pt x="534200" y="50425"/>
                  </a:lnTo>
                  <a:lnTo>
                    <a:pt x="507868" y="50425"/>
                  </a:lnTo>
                  <a:lnTo>
                    <a:pt x="507868" y="0"/>
                  </a:lnTo>
                  <a:lnTo>
                    <a:pt x="705189" y="0"/>
                  </a:lnTo>
                  <a:lnTo>
                    <a:pt x="705189" y="50425"/>
                  </a:lnTo>
                  <a:lnTo>
                    <a:pt x="675003" y="50425"/>
                  </a:lnTo>
                  <a:cubicBezTo>
                    <a:pt x="676997" y="289599"/>
                    <a:pt x="678992" y="528772"/>
                    <a:pt x="680986" y="767946"/>
                  </a:cubicBezTo>
                  <a:lnTo>
                    <a:pt x="783604" y="767946"/>
                  </a:lnTo>
                  <a:close/>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43" name="직사각형 242"/>
            <p:cNvSpPr/>
            <p:nvPr/>
          </p:nvSpPr>
          <p:spPr>
            <a:xfrm>
              <a:off x="2229051" y="3696027"/>
              <a:ext cx="579120" cy="35059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44" name="직사각형 243"/>
            <p:cNvSpPr/>
            <p:nvPr/>
          </p:nvSpPr>
          <p:spPr>
            <a:xfrm>
              <a:off x="2194560" y="4023442"/>
              <a:ext cx="651711" cy="4571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245" name="자유형 244"/>
          <p:cNvSpPr/>
          <p:nvPr/>
        </p:nvSpPr>
        <p:spPr>
          <a:xfrm>
            <a:off x="3729378" y="2970008"/>
            <a:ext cx="2491218" cy="713775"/>
          </a:xfrm>
          <a:custGeom>
            <a:avLst/>
            <a:gdLst>
              <a:gd name="connsiteX0" fmla="*/ 26590 w 2153799"/>
              <a:gd name="connsiteY0" fmla="*/ 0 h 413532"/>
              <a:gd name="connsiteX1" fmla="*/ 2097410 w 2153799"/>
              <a:gd name="connsiteY1" fmla="*/ 0 h 413532"/>
              <a:gd name="connsiteX2" fmla="*/ 2116212 w 2153799"/>
              <a:gd name="connsiteY2" fmla="*/ 7788 h 413532"/>
              <a:gd name="connsiteX3" fmla="*/ 2122667 w 2153799"/>
              <a:gd name="connsiteY3" fmla="*/ 23372 h 413532"/>
              <a:gd name="connsiteX4" fmla="*/ 2123030 w 2153799"/>
              <a:gd name="connsiteY4" fmla="*/ 23372 h 413532"/>
              <a:gd name="connsiteX5" fmla="*/ 2123030 w 2153799"/>
              <a:gd name="connsiteY5" fmla="*/ 24248 h 413532"/>
              <a:gd name="connsiteX6" fmla="*/ 2124000 w 2153799"/>
              <a:gd name="connsiteY6" fmla="*/ 26590 h 413532"/>
              <a:gd name="connsiteX7" fmla="*/ 2123030 w 2153799"/>
              <a:gd name="connsiteY7" fmla="*/ 28932 h 413532"/>
              <a:gd name="connsiteX8" fmla="*/ 2123030 w 2153799"/>
              <a:gd name="connsiteY8" fmla="*/ 351993 h 413532"/>
              <a:gd name="connsiteX9" fmla="*/ 2153799 w 2153799"/>
              <a:gd name="connsiteY9" fmla="*/ 351993 h 413532"/>
              <a:gd name="connsiteX10" fmla="*/ 2092260 w 2153799"/>
              <a:gd name="connsiteY10" fmla="*/ 413532 h 413532"/>
              <a:gd name="connsiteX11" fmla="*/ 2030721 w 2153799"/>
              <a:gd name="connsiteY11" fmla="*/ 351993 h 413532"/>
              <a:gd name="connsiteX12" fmla="*/ 2061491 w 2153799"/>
              <a:gd name="connsiteY12" fmla="*/ 351993 h 413532"/>
              <a:gd name="connsiteX13" fmla="*/ 2061491 w 2153799"/>
              <a:gd name="connsiteY13" fmla="*/ 53180 h 413532"/>
              <a:gd name="connsiteX14" fmla="*/ 26590 w 2153799"/>
              <a:gd name="connsiteY14" fmla="*/ 53180 h 413532"/>
              <a:gd name="connsiteX15" fmla="*/ 0 w 2153799"/>
              <a:gd name="connsiteY15" fmla="*/ 26590 h 413532"/>
              <a:gd name="connsiteX16" fmla="*/ 26590 w 2153799"/>
              <a:gd name="connsiteY16" fmla="*/ 0 h 4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3799" h="413532">
                <a:moveTo>
                  <a:pt x="26590" y="0"/>
                </a:moveTo>
                <a:lnTo>
                  <a:pt x="2097410" y="0"/>
                </a:lnTo>
                <a:cubicBezTo>
                  <a:pt x="2104753" y="0"/>
                  <a:pt x="2111400" y="2976"/>
                  <a:pt x="2116212" y="7788"/>
                </a:cubicBezTo>
                <a:lnTo>
                  <a:pt x="2122667" y="23372"/>
                </a:lnTo>
                <a:lnTo>
                  <a:pt x="2123030" y="23372"/>
                </a:lnTo>
                <a:lnTo>
                  <a:pt x="2123030" y="24248"/>
                </a:lnTo>
                <a:lnTo>
                  <a:pt x="2124000" y="26590"/>
                </a:lnTo>
                <a:lnTo>
                  <a:pt x="2123030" y="28932"/>
                </a:lnTo>
                <a:lnTo>
                  <a:pt x="2123030" y="351993"/>
                </a:lnTo>
                <a:lnTo>
                  <a:pt x="2153799" y="351993"/>
                </a:lnTo>
                <a:lnTo>
                  <a:pt x="2092260" y="413532"/>
                </a:lnTo>
                <a:lnTo>
                  <a:pt x="2030721" y="351993"/>
                </a:lnTo>
                <a:lnTo>
                  <a:pt x="2061491" y="351993"/>
                </a:lnTo>
                <a:lnTo>
                  <a:pt x="2061491" y="53180"/>
                </a:lnTo>
                <a:lnTo>
                  <a:pt x="26590" y="53180"/>
                </a:lnTo>
                <a:cubicBezTo>
                  <a:pt x="11905" y="53180"/>
                  <a:pt x="0" y="41275"/>
                  <a:pt x="0" y="26590"/>
                </a:cubicBezTo>
                <a:cubicBezTo>
                  <a:pt x="0" y="11905"/>
                  <a:pt x="11905" y="0"/>
                  <a:pt x="26590" y="0"/>
                </a:cubicBezTo>
                <a:close/>
              </a:path>
            </a:pathLst>
          </a:custGeom>
          <a:gradFill flip="none" rotWithShape="1">
            <a:gsLst>
              <a:gs pos="0">
                <a:srgbClr val="00B0F0">
                  <a:alpha val="0"/>
                </a:srgbClr>
              </a:gs>
              <a:gs pos="29000">
                <a:srgbClr val="00B0F0">
                  <a:alpha val="40000"/>
                </a:srgbClr>
              </a:gs>
              <a:gs pos="100000">
                <a:srgbClr val="0070C0">
                  <a:alpha val="7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46" name="자유형 245"/>
          <p:cNvSpPr/>
          <p:nvPr/>
        </p:nvSpPr>
        <p:spPr>
          <a:xfrm rot="16200000">
            <a:off x="4643769" y="1939192"/>
            <a:ext cx="642201" cy="2488631"/>
          </a:xfrm>
          <a:custGeom>
            <a:avLst/>
            <a:gdLst>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425297 w 776156"/>
              <a:gd name="connsiteY4" fmla="*/ 4959036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14916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1 w 776156"/>
              <a:gd name="connsiteY13" fmla="*/ 4813832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812642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83724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83724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811666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3196604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809 w 776156"/>
              <a:gd name="connsiteY21" fmla="*/ 3196604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195594 h 4981044"/>
              <a:gd name="connsiteX18" fmla="*/ 474938 w 776156"/>
              <a:gd name="connsiteY18" fmla="*/ 3195594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195594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85231 w 785231"/>
              <a:gd name="connsiteY0" fmla="*/ 767946 h 4981044"/>
              <a:gd name="connsiteX1" fmla="*/ 785231 w 785231"/>
              <a:gd name="connsiteY1" fmla="*/ 2466866 h 4981044"/>
              <a:gd name="connsiteX2" fmla="*/ 682613 w 785231"/>
              <a:gd name="connsiteY2" fmla="*/ 2466866 h 4981044"/>
              <a:gd name="connsiteX3" fmla="*/ 682613 w 785231"/>
              <a:gd name="connsiteY3" fmla="*/ 4815708 h 4981044"/>
              <a:gd name="connsiteX4" fmla="*/ 563530 w 785231"/>
              <a:gd name="connsiteY4" fmla="*/ 4963451 h 4981044"/>
              <a:gd name="connsiteX5" fmla="*/ 126432 w 785231"/>
              <a:gd name="connsiteY5" fmla="*/ 4957476 h 4981044"/>
              <a:gd name="connsiteX6" fmla="*/ 59500 w 785231"/>
              <a:gd name="connsiteY6" fmla="*/ 4956960 h 4981044"/>
              <a:gd name="connsiteX7" fmla="*/ 59500 w 785231"/>
              <a:gd name="connsiteY7" fmla="*/ 4981044 h 4981044"/>
              <a:gd name="connsiteX8" fmla="*/ 9075 w 785231"/>
              <a:gd name="connsiteY8" fmla="*/ 4981044 h 4981044"/>
              <a:gd name="connsiteX9" fmla="*/ 9075 w 785231"/>
              <a:gd name="connsiteY9" fmla="*/ 4766062 h 4981044"/>
              <a:gd name="connsiteX10" fmla="*/ 59500 w 785231"/>
              <a:gd name="connsiteY10" fmla="*/ 4770477 h 4981044"/>
              <a:gd name="connsiteX11" fmla="*/ 59500 w 785231"/>
              <a:gd name="connsiteY11" fmla="*/ 4798418 h 4981044"/>
              <a:gd name="connsiteX12" fmla="*/ 250339 w 785231"/>
              <a:gd name="connsiteY12" fmla="*/ 4799395 h 4981044"/>
              <a:gd name="connsiteX13" fmla="*/ 483147 w 785231"/>
              <a:gd name="connsiteY13" fmla="*/ 4796168 h 4981044"/>
              <a:gd name="connsiteX14" fmla="*/ 557188 w 785231"/>
              <a:gd name="connsiteY14" fmla="*/ 4735896 h 4981044"/>
              <a:gd name="connsiteX15" fmla="*/ 563537 w 785231"/>
              <a:gd name="connsiteY15" fmla="*/ 2463112 h 4981044"/>
              <a:gd name="connsiteX16" fmla="*/ 384569 w 785231"/>
              <a:gd name="connsiteY16" fmla="*/ 2464702 h 4981044"/>
              <a:gd name="connsiteX17" fmla="*/ 381390 w 785231"/>
              <a:gd name="connsiteY17" fmla="*/ 3034102 h 4981044"/>
              <a:gd name="connsiteX18" fmla="*/ 2025 w 785231"/>
              <a:gd name="connsiteY18" fmla="*/ 3195594 h 4981044"/>
              <a:gd name="connsiteX19" fmla="*/ 488777 w 785231"/>
              <a:gd name="connsiteY19" fmla="*/ 4268405 h 4981044"/>
              <a:gd name="connsiteX20" fmla="*/ 9884 w 785231"/>
              <a:gd name="connsiteY20" fmla="*/ 4268405 h 4981044"/>
              <a:gd name="connsiteX21" fmla="*/ 33983 w 785231"/>
              <a:gd name="connsiteY21" fmla="*/ 2833245 h 4981044"/>
              <a:gd name="connsiteX22" fmla="*/ 272135 w 785231"/>
              <a:gd name="connsiteY22" fmla="*/ 2833245 h 4981044"/>
              <a:gd name="connsiteX23" fmla="*/ 272135 w 785231"/>
              <a:gd name="connsiteY23" fmla="*/ 2466866 h 4981044"/>
              <a:gd name="connsiteX24" fmla="*/ 203720 w 785231"/>
              <a:gd name="connsiteY24" fmla="*/ 2466866 h 4981044"/>
              <a:gd name="connsiteX25" fmla="*/ 197370 w 785231"/>
              <a:gd name="connsiteY25" fmla="*/ 753950 h 4981044"/>
              <a:gd name="connsiteX26" fmla="*/ 260734 w 785231"/>
              <a:gd name="connsiteY26" fmla="*/ 753945 h 4981044"/>
              <a:gd name="connsiteX27" fmla="*/ 260734 w 785231"/>
              <a:gd name="connsiteY27" fmla="*/ 50425 h 4981044"/>
              <a:gd name="connsiteX28" fmla="*/ 230889 w 785231"/>
              <a:gd name="connsiteY28" fmla="*/ 50425 h 4981044"/>
              <a:gd name="connsiteX29" fmla="*/ 230889 w 785231"/>
              <a:gd name="connsiteY29" fmla="*/ 0 h 4981044"/>
              <a:gd name="connsiteX30" fmla="*/ 428210 w 785231"/>
              <a:gd name="connsiteY30" fmla="*/ 0 h 4981044"/>
              <a:gd name="connsiteX31" fmla="*/ 428210 w 785231"/>
              <a:gd name="connsiteY31" fmla="*/ 50425 h 4981044"/>
              <a:gd name="connsiteX32" fmla="*/ 397560 w 785231"/>
              <a:gd name="connsiteY32" fmla="*/ 50425 h 4981044"/>
              <a:gd name="connsiteX33" fmla="*/ 397560 w 785231"/>
              <a:gd name="connsiteY33" fmla="*/ 762889 h 4981044"/>
              <a:gd name="connsiteX34" fmla="*/ 538140 w 785231"/>
              <a:gd name="connsiteY34" fmla="*/ 762889 h 4981044"/>
              <a:gd name="connsiteX35" fmla="*/ 535827 w 785231"/>
              <a:gd name="connsiteY35" fmla="*/ 50425 h 4981044"/>
              <a:gd name="connsiteX36" fmla="*/ 509495 w 785231"/>
              <a:gd name="connsiteY36" fmla="*/ 50425 h 4981044"/>
              <a:gd name="connsiteX37" fmla="*/ 509495 w 785231"/>
              <a:gd name="connsiteY37" fmla="*/ 0 h 4981044"/>
              <a:gd name="connsiteX38" fmla="*/ 706816 w 785231"/>
              <a:gd name="connsiteY38" fmla="*/ 0 h 4981044"/>
              <a:gd name="connsiteX39" fmla="*/ 706816 w 785231"/>
              <a:gd name="connsiteY39" fmla="*/ 50425 h 4981044"/>
              <a:gd name="connsiteX40" fmla="*/ 676630 w 785231"/>
              <a:gd name="connsiteY40" fmla="*/ 50425 h 4981044"/>
              <a:gd name="connsiteX41" fmla="*/ 682613 w 785231"/>
              <a:gd name="connsiteY41" fmla="*/ 767946 h 4981044"/>
              <a:gd name="connsiteX42" fmla="*/ 785231 w 785231"/>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53199 w 776156"/>
              <a:gd name="connsiteY18" fmla="*/ 3013913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94660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2315 w 776156"/>
              <a:gd name="connsiteY17" fmla="*/ 329316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69428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34102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81204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22326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479702 w 776156"/>
              <a:gd name="connsiteY19" fmla="*/ 4268405 h 4981044"/>
              <a:gd name="connsiteX20" fmla="*/ 809 w 776156"/>
              <a:gd name="connsiteY20" fmla="*/ 4268405 h 4981044"/>
              <a:gd name="connsiteX21" fmla="*/ 24908 w 776156"/>
              <a:gd name="connsiteY21" fmla="*/ 2833245 h 4981044"/>
              <a:gd name="connsiteX22" fmla="*/ 263060 w 776156"/>
              <a:gd name="connsiteY22" fmla="*/ 2833245 h 4981044"/>
              <a:gd name="connsiteX23" fmla="*/ 263060 w 776156"/>
              <a:gd name="connsiteY23" fmla="*/ 2466866 h 4981044"/>
              <a:gd name="connsiteX24" fmla="*/ 194645 w 776156"/>
              <a:gd name="connsiteY24" fmla="*/ 2466866 h 4981044"/>
              <a:gd name="connsiteX25" fmla="*/ 188295 w 776156"/>
              <a:gd name="connsiteY25" fmla="*/ 753950 h 4981044"/>
              <a:gd name="connsiteX26" fmla="*/ 251659 w 776156"/>
              <a:gd name="connsiteY26" fmla="*/ 753945 h 4981044"/>
              <a:gd name="connsiteX27" fmla="*/ 251659 w 776156"/>
              <a:gd name="connsiteY27" fmla="*/ 50425 h 4981044"/>
              <a:gd name="connsiteX28" fmla="*/ 221814 w 776156"/>
              <a:gd name="connsiteY28" fmla="*/ 50425 h 4981044"/>
              <a:gd name="connsiteX29" fmla="*/ 221814 w 776156"/>
              <a:gd name="connsiteY29" fmla="*/ 0 h 4981044"/>
              <a:gd name="connsiteX30" fmla="*/ 419135 w 776156"/>
              <a:gd name="connsiteY30" fmla="*/ 0 h 4981044"/>
              <a:gd name="connsiteX31" fmla="*/ 419135 w 776156"/>
              <a:gd name="connsiteY31" fmla="*/ 50425 h 4981044"/>
              <a:gd name="connsiteX32" fmla="*/ 388485 w 776156"/>
              <a:gd name="connsiteY32" fmla="*/ 50425 h 4981044"/>
              <a:gd name="connsiteX33" fmla="*/ 388485 w 776156"/>
              <a:gd name="connsiteY33" fmla="*/ 762889 h 4981044"/>
              <a:gd name="connsiteX34" fmla="*/ 529065 w 776156"/>
              <a:gd name="connsiteY34" fmla="*/ 762889 h 4981044"/>
              <a:gd name="connsiteX35" fmla="*/ 526752 w 776156"/>
              <a:gd name="connsiteY35" fmla="*/ 50425 h 4981044"/>
              <a:gd name="connsiteX36" fmla="*/ 500420 w 776156"/>
              <a:gd name="connsiteY36" fmla="*/ 50425 h 4981044"/>
              <a:gd name="connsiteX37" fmla="*/ 500420 w 776156"/>
              <a:gd name="connsiteY37" fmla="*/ 0 h 4981044"/>
              <a:gd name="connsiteX38" fmla="*/ 697741 w 776156"/>
              <a:gd name="connsiteY38" fmla="*/ 0 h 4981044"/>
              <a:gd name="connsiteX39" fmla="*/ 697741 w 776156"/>
              <a:gd name="connsiteY39" fmla="*/ 50425 h 4981044"/>
              <a:gd name="connsiteX40" fmla="*/ 667555 w 776156"/>
              <a:gd name="connsiteY40" fmla="*/ 50425 h 4981044"/>
              <a:gd name="connsiteX41" fmla="*/ 673538 w 776156"/>
              <a:gd name="connsiteY41" fmla="*/ 767946 h 4981044"/>
              <a:gd name="connsiteX42" fmla="*/ 776156 w 776156"/>
              <a:gd name="connsiteY42"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809 w 776156"/>
              <a:gd name="connsiteY19" fmla="*/ 4268405 h 4981044"/>
              <a:gd name="connsiteX20" fmla="*/ 24908 w 776156"/>
              <a:gd name="connsiteY20" fmla="*/ 2833245 h 4981044"/>
              <a:gd name="connsiteX21" fmla="*/ 263060 w 776156"/>
              <a:gd name="connsiteY21" fmla="*/ 2833245 h 4981044"/>
              <a:gd name="connsiteX22" fmla="*/ 263060 w 776156"/>
              <a:gd name="connsiteY22" fmla="*/ 2466866 h 4981044"/>
              <a:gd name="connsiteX23" fmla="*/ 194645 w 776156"/>
              <a:gd name="connsiteY23" fmla="*/ 2466866 h 4981044"/>
              <a:gd name="connsiteX24" fmla="*/ 188295 w 776156"/>
              <a:gd name="connsiteY24" fmla="*/ 753950 h 4981044"/>
              <a:gd name="connsiteX25" fmla="*/ 251659 w 776156"/>
              <a:gd name="connsiteY25" fmla="*/ 753945 h 4981044"/>
              <a:gd name="connsiteX26" fmla="*/ 251659 w 776156"/>
              <a:gd name="connsiteY26" fmla="*/ 50425 h 4981044"/>
              <a:gd name="connsiteX27" fmla="*/ 221814 w 776156"/>
              <a:gd name="connsiteY27" fmla="*/ 50425 h 4981044"/>
              <a:gd name="connsiteX28" fmla="*/ 221814 w 776156"/>
              <a:gd name="connsiteY28" fmla="*/ 0 h 4981044"/>
              <a:gd name="connsiteX29" fmla="*/ 419135 w 776156"/>
              <a:gd name="connsiteY29" fmla="*/ 0 h 4981044"/>
              <a:gd name="connsiteX30" fmla="*/ 419135 w 776156"/>
              <a:gd name="connsiteY30" fmla="*/ 50425 h 4981044"/>
              <a:gd name="connsiteX31" fmla="*/ 388485 w 776156"/>
              <a:gd name="connsiteY31" fmla="*/ 50425 h 4981044"/>
              <a:gd name="connsiteX32" fmla="*/ 388485 w 776156"/>
              <a:gd name="connsiteY32" fmla="*/ 762889 h 4981044"/>
              <a:gd name="connsiteX33" fmla="*/ 529065 w 776156"/>
              <a:gd name="connsiteY33" fmla="*/ 762889 h 4981044"/>
              <a:gd name="connsiteX34" fmla="*/ 526752 w 776156"/>
              <a:gd name="connsiteY34" fmla="*/ 50425 h 4981044"/>
              <a:gd name="connsiteX35" fmla="*/ 500420 w 776156"/>
              <a:gd name="connsiteY35" fmla="*/ 50425 h 4981044"/>
              <a:gd name="connsiteX36" fmla="*/ 500420 w 776156"/>
              <a:gd name="connsiteY36" fmla="*/ 0 h 4981044"/>
              <a:gd name="connsiteX37" fmla="*/ 697741 w 776156"/>
              <a:gd name="connsiteY37" fmla="*/ 0 h 4981044"/>
              <a:gd name="connsiteX38" fmla="*/ 697741 w 776156"/>
              <a:gd name="connsiteY38" fmla="*/ 50425 h 4981044"/>
              <a:gd name="connsiteX39" fmla="*/ 667555 w 776156"/>
              <a:gd name="connsiteY39" fmla="*/ 50425 h 4981044"/>
              <a:gd name="connsiteX40" fmla="*/ 673538 w 776156"/>
              <a:gd name="connsiteY40" fmla="*/ 767946 h 4981044"/>
              <a:gd name="connsiteX41" fmla="*/ 776156 w 776156"/>
              <a:gd name="connsiteY41" fmla="*/ 767946 h 4981044"/>
              <a:gd name="connsiteX0" fmla="*/ 776156 w 776156"/>
              <a:gd name="connsiteY0" fmla="*/ 767946 h 4981044"/>
              <a:gd name="connsiteX1" fmla="*/ 776156 w 776156"/>
              <a:gd name="connsiteY1" fmla="*/ 2466866 h 4981044"/>
              <a:gd name="connsiteX2" fmla="*/ 673538 w 776156"/>
              <a:gd name="connsiteY2" fmla="*/ 2466866 h 4981044"/>
              <a:gd name="connsiteX3" fmla="*/ 673538 w 776156"/>
              <a:gd name="connsiteY3" fmla="*/ 4815708 h 4981044"/>
              <a:gd name="connsiteX4" fmla="*/ 554455 w 776156"/>
              <a:gd name="connsiteY4" fmla="*/ 4963451 h 4981044"/>
              <a:gd name="connsiteX5" fmla="*/ 117357 w 776156"/>
              <a:gd name="connsiteY5" fmla="*/ 4957476 h 4981044"/>
              <a:gd name="connsiteX6" fmla="*/ 50425 w 776156"/>
              <a:gd name="connsiteY6" fmla="*/ 4956960 h 4981044"/>
              <a:gd name="connsiteX7" fmla="*/ 50425 w 776156"/>
              <a:gd name="connsiteY7" fmla="*/ 4981044 h 4981044"/>
              <a:gd name="connsiteX8" fmla="*/ 0 w 776156"/>
              <a:gd name="connsiteY8" fmla="*/ 4981044 h 4981044"/>
              <a:gd name="connsiteX9" fmla="*/ 0 w 776156"/>
              <a:gd name="connsiteY9" fmla="*/ 4766062 h 4981044"/>
              <a:gd name="connsiteX10" fmla="*/ 50425 w 776156"/>
              <a:gd name="connsiteY10" fmla="*/ 4770477 h 4981044"/>
              <a:gd name="connsiteX11" fmla="*/ 50425 w 776156"/>
              <a:gd name="connsiteY11" fmla="*/ 4798418 h 4981044"/>
              <a:gd name="connsiteX12" fmla="*/ 241264 w 776156"/>
              <a:gd name="connsiteY12" fmla="*/ 4799395 h 4981044"/>
              <a:gd name="connsiteX13" fmla="*/ 474072 w 776156"/>
              <a:gd name="connsiteY13" fmla="*/ 4796168 h 4981044"/>
              <a:gd name="connsiteX14" fmla="*/ 548113 w 776156"/>
              <a:gd name="connsiteY14" fmla="*/ 4735896 h 4981044"/>
              <a:gd name="connsiteX15" fmla="*/ 554462 w 776156"/>
              <a:gd name="connsiteY15" fmla="*/ 2463112 h 4981044"/>
              <a:gd name="connsiteX16" fmla="*/ 375494 w 776156"/>
              <a:gd name="connsiteY16" fmla="*/ 2464702 h 4981044"/>
              <a:gd name="connsiteX17" fmla="*/ 379344 w 776156"/>
              <a:gd name="connsiteY17" fmla="*/ 3057653 h 4981044"/>
              <a:gd name="connsiteX18" fmla="*/ 41150 w 776156"/>
              <a:gd name="connsiteY18" fmla="*/ 3054285 h 4981044"/>
              <a:gd name="connsiteX19" fmla="*/ 24908 w 776156"/>
              <a:gd name="connsiteY19" fmla="*/ 2833245 h 4981044"/>
              <a:gd name="connsiteX20" fmla="*/ 263060 w 776156"/>
              <a:gd name="connsiteY20" fmla="*/ 2833245 h 4981044"/>
              <a:gd name="connsiteX21" fmla="*/ 263060 w 776156"/>
              <a:gd name="connsiteY21" fmla="*/ 2466866 h 4981044"/>
              <a:gd name="connsiteX22" fmla="*/ 194645 w 776156"/>
              <a:gd name="connsiteY22" fmla="*/ 2466866 h 4981044"/>
              <a:gd name="connsiteX23" fmla="*/ 188295 w 776156"/>
              <a:gd name="connsiteY23" fmla="*/ 753950 h 4981044"/>
              <a:gd name="connsiteX24" fmla="*/ 251659 w 776156"/>
              <a:gd name="connsiteY24" fmla="*/ 753945 h 4981044"/>
              <a:gd name="connsiteX25" fmla="*/ 251659 w 776156"/>
              <a:gd name="connsiteY25" fmla="*/ 50425 h 4981044"/>
              <a:gd name="connsiteX26" fmla="*/ 221814 w 776156"/>
              <a:gd name="connsiteY26" fmla="*/ 50425 h 4981044"/>
              <a:gd name="connsiteX27" fmla="*/ 221814 w 776156"/>
              <a:gd name="connsiteY27" fmla="*/ 0 h 4981044"/>
              <a:gd name="connsiteX28" fmla="*/ 419135 w 776156"/>
              <a:gd name="connsiteY28" fmla="*/ 0 h 4981044"/>
              <a:gd name="connsiteX29" fmla="*/ 419135 w 776156"/>
              <a:gd name="connsiteY29" fmla="*/ 50425 h 4981044"/>
              <a:gd name="connsiteX30" fmla="*/ 388485 w 776156"/>
              <a:gd name="connsiteY30" fmla="*/ 50425 h 4981044"/>
              <a:gd name="connsiteX31" fmla="*/ 388485 w 776156"/>
              <a:gd name="connsiteY31" fmla="*/ 762889 h 4981044"/>
              <a:gd name="connsiteX32" fmla="*/ 529065 w 776156"/>
              <a:gd name="connsiteY32" fmla="*/ 762889 h 4981044"/>
              <a:gd name="connsiteX33" fmla="*/ 526752 w 776156"/>
              <a:gd name="connsiteY33" fmla="*/ 50425 h 4981044"/>
              <a:gd name="connsiteX34" fmla="*/ 500420 w 776156"/>
              <a:gd name="connsiteY34" fmla="*/ 50425 h 4981044"/>
              <a:gd name="connsiteX35" fmla="*/ 500420 w 776156"/>
              <a:gd name="connsiteY35" fmla="*/ 0 h 4981044"/>
              <a:gd name="connsiteX36" fmla="*/ 697741 w 776156"/>
              <a:gd name="connsiteY36" fmla="*/ 0 h 4981044"/>
              <a:gd name="connsiteX37" fmla="*/ 697741 w 776156"/>
              <a:gd name="connsiteY37" fmla="*/ 50425 h 4981044"/>
              <a:gd name="connsiteX38" fmla="*/ 667555 w 776156"/>
              <a:gd name="connsiteY38" fmla="*/ 50425 h 4981044"/>
              <a:gd name="connsiteX39" fmla="*/ 673538 w 776156"/>
              <a:gd name="connsiteY39" fmla="*/ 767946 h 4981044"/>
              <a:gd name="connsiteX40" fmla="*/ 776156 w 776156"/>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9899 w 791238"/>
              <a:gd name="connsiteY20" fmla="*/ 2839662 h 4981044"/>
              <a:gd name="connsiteX21" fmla="*/ 278142 w 791238"/>
              <a:gd name="connsiteY21" fmla="*/ 2833245 h 4981044"/>
              <a:gd name="connsiteX22" fmla="*/ 278142 w 791238"/>
              <a:gd name="connsiteY22" fmla="*/ 2466866 h 4981044"/>
              <a:gd name="connsiteX23" fmla="*/ 209727 w 791238"/>
              <a:gd name="connsiteY23" fmla="*/ 2466866 h 4981044"/>
              <a:gd name="connsiteX24" fmla="*/ 203377 w 791238"/>
              <a:gd name="connsiteY24" fmla="*/ 753950 h 4981044"/>
              <a:gd name="connsiteX25" fmla="*/ 266741 w 791238"/>
              <a:gd name="connsiteY25" fmla="*/ 753945 h 4981044"/>
              <a:gd name="connsiteX26" fmla="*/ 266741 w 791238"/>
              <a:gd name="connsiteY26" fmla="*/ 50425 h 4981044"/>
              <a:gd name="connsiteX27" fmla="*/ 236896 w 791238"/>
              <a:gd name="connsiteY27" fmla="*/ 50425 h 4981044"/>
              <a:gd name="connsiteX28" fmla="*/ 236896 w 791238"/>
              <a:gd name="connsiteY28" fmla="*/ 0 h 4981044"/>
              <a:gd name="connsiteX29" fmla="*/ 434217 w 791238"/>
              <a:gd name="connsiteY29" fmla="*/ 0 h 4981044"/>
              <a:gd name="connsiteX30" fmla="*/ 434217 w 791238"/>
              <a:gd name="connsiteY30" fmla="*/ 50425 h 4981044"/>
              <a:gd name="connsiteX31" fmla="*/ 403567 w 791238"/>
              <a:gd name="connsiteY31" fmla="*/ 50425 h 4981044"/>
              <a:gd name="connsiteX32" fmla="*/ 403567 w 791238"/>
              <a:gd name="connsiteY32" fmla="*/ 762889 h 4981044"/>
              <a:gd name="connsiteX33" fmla="*/ 544147 w 791238"/>
              <a:gd name="connsiteY33" fmla="*/ 762889 h 4981044"/>
              <a:gd name="connsiteX34" fmla="*/ 541834 w 791238"/>
              <a:gd name="connsiteY34" fmla="*/ 50425 h 4981044"/>
              <a:gd name="connsiteX35" fmla="*/ 515502 w 791238"/>
              <a:gd name="connsiteY35" fmla="*/ 50425 h 4981044"/>
              <a:gd name="connsiteX36" fmla="*/ 515502 w 791238"/>
              <a:gd name="connsiteY36" fmla="*/ 0 h 4981044"/>
              <a:gd name="connsiteX37" fmla="*/ 712823 w 791238"/>
              <a:gd name="connsiteY37" fmla="*/ 0 h 4981044"/>
              <a:gd name="connsiteX38" fmla="*/ 712823 w 791238"/>
              <a:gd name="connsiteY38" fmla="*/ 50425 h 4981044"/>
              <a:gd name="connsiteX39" fmla="*/ 682637 w 791238"/>
              <a:gd name="connsiteY39" fmla="*/ 50425 h 4981044"/>
              <a:gd name="connsiteX40" fmla="*/ 688620 w 791238"/>
              <a:gd name="connsiteY40" fmla="*/ 767946 h 4981044"/>
              <a:gd name="connsiteX41" fmla="*/ 791238 w 791238"/>
              <a:gd name="connsiteY41" fmla="*/ 767946 h 4981044"/>
              <a:gd name="connsiteX0" fmla="*/ 791238 w 791238"/>
              <a:gd name="connsiteY0" fmla="*/ 767946 h 4981044"/>
              <a:gd name="connsiteX1" fmla="*/ 791238 w 791238"/>
              <a:gd name="connsiteY1" fmla="*/ 2466866 h 4981044"/>
              <a:gd name="connsiteX2" fmla="*/ 688620 w 791238"/>
              <a:gd name="connsiteY2" fmla="*/ 2466866 h 4981044"/>
              <a:gd name="connsiteX3" fmla="*/ 688620 w 791238"/>
              <a:gd name="connsiteY3" fmla="*/ 4815708 h 4981044"/>
              <a:gd name="connsiteX4" fmla="*/ 569537 w 791238"/>
              <a:gd name="connsiteY4" fmla="*/ 4963451 h 4981044"/>
              <a:gd name="connsiteX5" fmla="*/ 132439 w 791238"/>
              <a:gd name="connsiteY5" fmla="*/ 4957476 h 4981044"/>
              <a:gd name="connsiteX6" fmla="*/ 65507 w 791238"/>
              <a:gd name="connsiteY6" fmla="*/ 4956960 h 4981044"/>
              <a:gd name="connsiteX7" fmla="*/ 65507 w 791238"/>
              <a:gd name="connsiteY7" fmla="*/ 4981044 h 4981044"/>
              <a:gd name="connsiteX8" fmla="*/ 15082 w 791238"/>
              <a:gd name="connsiteY8" fmla="*/ 4981044 h 4981044"/>
              <a:gd name="connsiteX9" fmla="*/ 15082 w 791238"/>
              <a:gd name="connsiteY9" fmla="*/ 4766062 h 4981044"/>
              <a:gd name="connsiteX10" fmla="*/ 65507 w 791238"/>
              <a:gd name="connsiteY10" fmla="*/ 4770477 h 4981044"/>
              <a:gd name="connsiteX11" fmla="*/ 65507 w 791238"/>
              <a:gd name="connsiteY11" fmla="*/ 4798418 h 4981044"/>
              <a:gd name="connsiteX12" fmla="*/ 256346 w 791238"/>
              <a:gd name="connsiteY12" fmla="*/ 4799395 h 4981044"/>
              <a:gd name="connsiteX13" fmla="*/ 489154 w 791238"/>
              <a:gd name="connsiteY13" fmla="*/ 4796168 h 4981044"/>
              <a:gd name="connsiteX14" fmla="*/ 563195 w 791238"/>
              <a:gd name="connsiteY14" fmla="*/ 4735896 h 4981044"/>
              <a:gd name="connsiteX15" fmla="*/ 569544 w 791238"/>
              <a:gd name="connsiteY15" fmla="*/ 2463112 h 4981044"/>
              <a:gd name="connsiteX16" fmla="*/ 390576 w 791238"/>
              <a:gd name="connsiteY16" fmla="*/ 2464702 h 4981044"/>
              <a:gd name="connsiteX17" fmla="*/ 394426 w 791238"/>
              <a:gd name="connsiteY17" fmla="*/ 3057653 h 4981044"/>
              <a:gd name="connsiteX18" fmla="*/ 0 w 791238"/>
              <a:gd name="connsiteY18" fmla="*/ 3066061 h 4981044"/>
              <a:gd name="connsiteX19" fmla="*/ 39990 w 791238"/>
              <a:gd name="connsiteY19" fmla="*/ 2833245 h 4981044"/>
              <a:gd name="connsiteX20" fmla="*/ 278142 w 791238"/>
              <a:gd name="connsiteY20" fmla="*/ 2833245 h 4981044"/>
              <a:gd name="connsiteX21" fmla="*/ 278142 w 791238"/>
              <a:gd name="connsiteY21" fmla="*/ 2466866 h 4981044"/>
              <a:gd name="connsiteX22" fmla="*/ 209727 w 791238"/>
              <a:gd name="connsiteY22" fmla="*/ 2466866 h 4981044"/>
              <a:gd name="connsiteX23" fmla="*/ 203377 w 791238"/>
              <a:gd name="connsiteY23" fmla="*/ 753950 h 4981044"/>
              <a:gd name="connsiteX24" fmla="*/ 266741 w 791238"/>
              <a:gd name="connsiteY24" fmla="*/ 753945 h 4981044"/>
              <a:gd name="connsiteX25" fmla="*/ 266741 w 791238"/>
              <a:gd name="connsiteY25" fmla="*/ 50425 h 4981044"/>
              <a:gd name="connsiteX26" fmla="*/ 236896 w 791238"/>
              <a:gd name="connsiteY26" fmla="*/ 50425 h 4981044"/>
              <a:gd name="connsiteX27" fmla="*/ 236896 w 791238"/>
              <a:gd name="connsiteY27" fmla="*/ 0 h 4981044"/>
              <a:gd name="connsiteX28" fmla="*/ 434217 w 791238"/>
              <a:gd name="connsiteY28" fmla="*/ 0 h 4981044"/>
              <a:gd name="connsiteX29" fmla="*/ 434217 w 791238"/>
              <a:gd name="connsiteY29" fmla="*/ 50425 h 4981044"/>
              <a:gd name="connsiteX30" fmla="*/ 403567 w 791238"/>
              <a:gd name="connsiteY30" fmla="*/ 50425 h 4981044"/>
              <a:gd name="connsiteX31" fmla="*/ 403567 w 791238"/>
              <a:gd name="connsiteY31" fmla="*/ 762889 h 4981044"/>
              <a:gd name="connsiteX32" fmla="*/ 544147 w 791238"/>
              <a:gd name="connsiteY32" fmla="*/ 762889 h 4981044"/>
              <a:gd name="connsiteX33" fmla="*/ 541834 w 791238"/>
              <a:gd name="connsiteY33" fmla="*/ 50425 h 4981044"/>
              <a:gd name="connsiteX34" fmla="*/ 515502 w 791238"/>
              <a:gd name="connsiteY34" fmla="*/ 50425 h 4981044"/>
              <a:gd name="connsiteX35" fmla="*/ 515502 w 791238"/>
              <a:gd name="connsiteY35" fmla="*/ 0 h 4981044"/>
              <a:gd name="connsiteX36" fmla="*/ 712823 w 791238"/>
              <a:gd name="connsiteY36" fmla="*/ 0 h 4981044"/>
              <a:gd name="connsiteX37" fmla="*/ 712823 w 791238"/>
              <a:gd name="connsiteY37" fmla="*/ 50425 h 4981044"/>
              <a:gd name="connsiteX38" fmla="*/ 682637 w 791238"/>
              <a:gd name="connsiteY38" fmla="*/ 50425 h 4981044"/>
              <a:gd name="connsiteX39" fmla="*/ 688620 w 791238"/>
              <a:gd name="connsiteY39" fmla="*/ 767946 h 4981044"/>
              <a:gd name="connsiteX40" fmla="*/ 791238 w 791238"/>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807479 w 807479"/>
              <a:gd name="connsiteY0" fmla="*/ 767946 h 4981044"/>
              <a:gd name="connsiteX1" fmla="*/ 807479 w 807479"/>
              <a:gd name="connsiteY1" fmla="*/ 2466866 h 4981044"/>
              <a:gd name="connsiteX2" fmla="*/ 704861 w 807479"/>
              <a:gd name="connsiteY2" fmla="*/ 2466866 h 4981044"/>
              <a:gd name="connsiteX3" fmla="*/ 704861 w 807479"/>
              <a:gd name="connsiteY3" fmla="*/ 4815708 h 4981044"/>
              <a:gd name="connsiteX4" fmla="*/ 585778 w 807479"/>
              <a:gd name="connsiteY4" fmla="*/ 4963451 h 4981044"/>
              <a:gd name="connsiteX5" fmla="*/ 148680 w 807479"/>
              <a:gd name="connsiteY5" fmla="*/ 4957476 h 4981044"/>
              <a:gd name="connsiteX6" fmla="*/ 81748 w 807479"/>
              <a:gd name="connsiteY6" fmla="*/ 4956960 h 4981044"/>
              <a:gd name="connsiteX7" fmla="*/ 81748 w 807479"/>
              <a:gd name="connsiteY7" fmla="*/ 4981044 h 4981044"/>
              <a:gd name="connsiteX8" fmla="*/ 31323 w 807479"/>
              <a:gd name="connsiteY8" fmla="*/ 4981044 h 4981044"/>
              <a:gd name="connsiteX9" fmla="*/ 31323 w 807479"/>
              <a:gd name="connsiteY9" fmla="*/ 4766062 h 4981044"/>
              <a:gd name="connsiteX10" fmla="*/ 81748 w 807479"/>
              <a:gd name="connsiteY10" fmla="*/ 4770477 h 4981044"/>
              <a:gd name="connsiteX11" fmla="*/ 81748 w 807479"/>
              <a:gd name="connsiteY11" fmla="*/ 4798418 h 4981044"/>
              <a:gd name="connsiteX12" fmla="*/ 272587 w 807479"/>
              <a:gd name="connsiteY12" fmla="*/ 4799395 h 4981044"/>
              <a:gd name="connsiteX13" fmla="*/ 505395 w 807479"/>
              <a:gd name="connsiteY13" fmla="*/ 4796168 h 4981044"/>
              <a:gd name="connsiteX14" fmla="*/ 579436 w 807479"/>
              <a:gd name="connsiteY14" fmla="*/ 4735896 h 4981044"/>
              <a:gd name="connsiteX15" fmla="*/ 585785 w 807479"/>
              <a:gd name="connsiteY15" fmla="*/ 2463112 h 4981044"/>
              <a:gd name="connsiteX16" fmla="*/ 406817 w 807479"/>
              <a:gd name="connsiteY16" fmla="*/ 2464702 h 4981044"/>
              <a:gd name="connsiteX17" fmla="*/ 410667 w 807479"/>
              <a:gd name="connsiteY17" fmla="*/ 3057653 h 4981044"/>
              <a:gd name="connsiteX18" fmla="*/ 16241 w 807479"/>
              <a:gd name="connsiteY18" fmla="*/ 3066061 h 4981044"/>
              <a:gd name="connsiteX19" fmla="*/ 0 w 807479"/>
              <a:gd name="connsiteY19" fmla="*/ 2845025 h 4981044"/>
              <a:gd name="connsiteX20" fmla="*/ 294383 w 807479"/>
              <a:gd name="connsiteY20" fmla="*/ 2833245 h 4981044"/>
              <a:gd name="connsiteX21" fmla="*/ 294383 w 807479"/>
              <a:gd name="connsiteY21" fmla="*/ 2466866 h 4981044"/>
              <a:gd name="connsiteX22" fmla="*/ 225968 w 807479"/>
              <a:gd name="connsiteY22" fmla="*/ 2466866 h 4981044"/>
              <a:gd name="connsiteX23" fmla="*/ 219618 w 807479"/>
              <a:gd name="connsiteY23" fmla="*/ 753950 h 4981044"/>
              <a:gd name="connsiteX24" fmla="*/ 282982 w 807479"/>
              <a:gd name="connsiteY24" fmla="*/ 753945 h 4981044"/>
              <a:gd name="connsiteX25" fmla="*/ 282982 w 807479"/>
              <a:gd name="connsiteY25" fmla="*/ 50425 h 4981044"/>
              <a:gd name="connsiteX26" fmla="*/ 253137 w 807479"/>
              <a:gd name="connsiteY26" fmla="*/ 50425 h 4981044"/>
              <a:gd name="connsiteX27" fmla="*/ 253137 w 807479"/>
              <a:gd name="connsiteY27" fmla="*/ 0 h 4981044"/>
              <a:gd name="connsiteX28" fmla="*/ 450458 w 807479"/>
              <a:gd name="connsiteY28" fmla="*/ 0 h 4981044"/>
              <a:gd name="connsiteX29" fmla="*/ 450458 w 807479"/>
              <a:gd name="connsiteY29" fmla="*/ 50425 h 4981044"/>
              <a:gd name="connsiteX30" fmla="*/ 419808 w 807479"/>
              <a:gd name="connsiteY30" fmla="*/ 50425 h 4981044"/>
              <a:gd name="connsiteX31" fmla="*/ 419808 w 807479"/>
              <a:gd name="connsiteY31" fmla="*/ 762889 h 4981044"/>
              <a:gd name="connsiteX32" fmla="*/ 560388 w 807479"/>
              <a:gd name="connsiteY32" fmla="*/ 762889 h 4981044"/>
              <a:gd name="connsiteX33" fmla="*/ 558075 w 807479"/>
              <a:gd name="connsiteY33" fmla="*/ 50425 h 4981044"/>
              <a:gd name="connsiteX34" fmla="*/ 531743 w 807479"/>
              <a:gd name="connsiteY34" fmla="*/ 50425 h 4981044"/>
              <a:gd name="connsiteX35" fmla="*/ 531743 w 807479"/>
              <a:gd name="connsiteY35" fmla="*/ 0 h 4981044"/>
              <a:gd name="connsiteX36" fmla="*/ 729064 w 807479"/>
              <a:gd name="connsiteY36" fmla="*/ 0 h 4981044"/>
              <a:gd name="connsiteX37" fmla="*/ 729064 w 807479"/>
              <a:gd name="connsiteY37" fmla="*/ 50425 h 4981044"/>
              <a:gd name="connsiteX38" fmla="*/ 698878 w 807479"/>
              <a:gd name="connsiteY38" fmla="*/ 50425 h 4981044"/>
              <a:gd name="connsiteX39" fmla="*/ 704861 w 807479"/>
              <a:gd name="connsiteY39" fmla="*/ 767946 h 4981044"/>
              <a:gd name="connsiteX40" fmla="*/ 807479 w 80747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1909 w 791909"/>
              <a:gd name="connsiteY0" fmla="*/ 767946 h 4981044"/>
              <a:gd name="connsiteX1" fmla="*/ 791909 w 791909"/>
              <a:gd name="connsiteY1" fmla="*/ 2466866 h 4981044"/>
              <a:gd name="connsiteX2" fmla="*/ 689291 w 791909"/>
              <a:gd name="connsiteY2" fmla="*/ 2466866 h 4981044"/>
              <a:gd name="connsiteX3" fmla="*/ 689291 w 791909"/>
              <a:gd name="connsiteY3" fmla="*/ 4815708 h 4981044"/>
              <a:gd name="connsiteX4" fmla="*/ 570208 w 791909"/>
              <a:gd name="connsiteY4" fmla="*/ 4963451 h 4981044"/>
              <a:gd name="connsiteX5" fmla="*/ 133110 w 791909"/>
              <a:gd name="connsiteY5" fmla="*/ 4957476 h 4981044"/>
              <a:gd name="connsiteX6" fmla="*/ 66178 w 791909"/>
              <a:gd name="connsiteY6" fmla="*/ 4956960 h 4981044"/>
              <a:gd name="connsiteX7" fmla="*/ 66178 w 791909"/>
              <a:gd name="connsiteY7" fmla="*/ 4981044 h 4981044"/>
              <a:gd name="connsiteX8" fmla="*/ 15753 w 791909"/>
              <a:gd name="connsiteY8" fmla="*/ 4981044 h 4981044"/>
              <a:gd name="connsiteX9" fmla="*/ 15753 w 791909"/>
              <a:gd name="connsiteY9" fmla="*/ 4766062 h 4981044"/>
              <a:gd name="connsiteX10" fmla="*/ 66178 w 791909"/>
              <a:gd name="connsiteY10" fmla="*/ 4770477 h 4981044"/>
              <a:gd name="connsiteX11" fmla="*/ 66178 w 791909"/>
              <a:gd name="connsiteY11" fmla="*/ 4798418 h 4981044"/>
              <a:gd name="connsiteX12" fmla="*/ 257017 w 791909"/>
              <a:gd name="connsiteY12" fmla="*/ 4799395 h 4981044"/>
              <a:gd name="connsiteX13" fmla="*/ 489825 w 791909"/>
              <a:gd name="connsiteY13" fmla="*/ 4796168 h 4981044"/>
              <a:gd name="connsiteX14" fmla="*/ 563866 w 791909"/>
              <a:gd name="connsiteY14" fmla="*/ 4735896 h 4981044"/>
              <a:gd name="connsiteX15" fmla="*/ 570215 w 791909"/>
              <a:gd name="connsiteY15" fmla="*/ 2463112 h 4981044"/>
              <a:gd name="connsiteX16" fmla="*/ 391247 w 791909"/>
              <a:gd name="connsiteY16" fmla="*/ 2464702 h 4981044"/>
              <a:gd name="connsiteX17" fmla="*/ 395097 w 791909"/>
              <a:gd name="connsiteY17" fmla="*/ 3057653 h 4981044"/>
              <a:gd name="connsiteX18" fmla="*/ 671 w 791909"/>
              <a:gd name="connsiteY18" fmla="*/ 3066061 h 4981044"/>
              <a:gd name="connsiteX19" fmla="*/ 5518 w 791909"/>
              <a:gd name="connsiteY19" fmla="*/ 2868581 h 4981044"/>
              <a:gd name="connsiteX20" fmla="*/ 278813 w 791909"/>
              <a:gd name="connsiteY20" fmla="*/ 2833245 h 4981044"/>
              <a:gd name="connsiteX21" fmla="*/ 278813 w 791909"/>
              <a:gd name="connsiteY21" fmla="*/ 2466866 h 4981044"/>
              <a:gd name="connsiteX22" fmla="*/ 210398 w 791909"/>
              <a:gd name="connsiteY22" fmla="*/ 2466866 h 4981044"/>
              <a:gd name="connsiteX23" fmla="*/ 204048 w 791909"/>
              <a:gd name="connsiteY23" fmla="*/ 753950 h 4981044"/>
              <a:gd name="connsiteX24" fmla="*/ 267412 w 791909"/>
              <a:gd name="connsiteY24" fmla="*/ 753945 h 4981044"/>
              <a:gd name="connsiteX25" fmla="*/ 267412 w 791909"/>
              <a:gd name="connsiteY25" fmla="*/ 50425 h 4981044"/>
              <a:gd name="connsiteX26" fmla="*/ 237567 w 791909"/>
              <a:gd name="connsiteY26" fmla="*/ 50425 h 4981044"/>
              <a:gd name="connsiteX27" fmla="*/ 237567 w 791909"/>
              <a:gd name="connsiteY27" fmla="*/ 0 h 4981044"/>
              <a:gd name="connsiteX28" fmla="*/ 434888 w 791909"/>
              <a:gd name="connsiteY28" fmla="*/ 0 h 4981044"/>
              <a:gd name="connsiteX29" fmla="*/ 434888 w 791909"/>
              <a:gd name="connsiteY29" fmla="*/ 50425 h 4981044"/>
              <a:gd name="connsiteX30" fmla="*/ 404238 w 791909"/>
              <a:gd name="connsiteY30" fmla="*/ 50425 h 4981044"/>
              <a:gd name="connsiteX31" fmla="*/ 404238 w 791909"/>
              <a:gd name="connsiteY31" fmla="*/ 762889 h 4981044"/>
              <a:gd name="connsiteX32" fmla="*/ 544818 w 791909"/>
              <a:gd name="connsiteY32" fmla="*/ 762889 h 4981044"/>
              <a:gd name="connsiteX33" fmla="*/ 542505 w 791909"/>
              <a:gd name="connsiteY33" fmla="*/ 50425 h 4981044"/>
              <a:gd name="connsiteX34" fmla="*/ 516173 w 791909"/>
              <a:gd name="connsiteY34" fmla="*/ 50425 h 4981044"/>
              <a:gd name="connsiteX35" fmla="*/ 516173 w 791909"/>
              <a:gd name="connsiteY35" fmla="*/ 0 h 4981044"/>
              <a:gd name="connsiteX36" fmla="*/ 713494 w 791909"/>
              <a:gd name="connsiteY36" fmla="*/ 0 h 4981044"/>
              <a:gd name="connsiteX37" fmla="*/ 713494 w 791909"/>
              <a:gd name="connsiteY37" fmla="*/ 50425 h 4981044"/>
              <a:gd name="connsiteX38" fmla="*/ 683308 w 791909"/>
              <a:gd name="connsiteY38" fmla="*/ 50425 h 4981044"/>
              <a:gd name="connsiteX39" fmla="*/ 689291 w 791909"/>
              <a:gd name="connsiteY39" fmla="*/ 767946 h 4981044"/>
              <a:gd name="connsiteX40" fmla="*/ 791909 w 791909"/>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57653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0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87010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3126 w 794364"/>
              <a:gd name="connsiteY18" fmla="*/ 3066061 h 4981044"/>
              <a:gd name="connsiteX19" fmla="*/ 7973 w 794364"/>
              <a:gd name="connsiteY19" fmla="*/ 2868581 h 4981044"/>
              <a:gd name="connsiteX20" fmla="*/ 281268 w 794364"/>
              <a:gd name="connsiteY20" fmla="*/ 2833245 h 4981044"/>
              <a:gd name="connsiteX21" fmla="*/ 281268 w 794364"/>
              <a:gd name="connsiteY21" fmla="*/ 2466866 h 4981044"/>
              <a:gd name="connsiteX22" fmla="*/ 212853 w 794364"/>
              <a:gd name="connsiteY22" fmla="*/ 2466866 h 4981044"/>
              <a:gd name="connsiteX23" fmla="*/ 206503 w 794364"/>
              <a:gd name="connsiteY23" fmla="*/ 753950 h 4981044"/>
              <a:gd name="connsiteX24" fmla="*/ 269867 w 794364"/>
              <a:gd name="connsiteY24" fmla="*/ 753945 h 4981044"/>
              <a:gd name="connsiteX25" fmla="*/ 269867 w 794364"/>
              <a:gd name="connsiteY25" fmla="*/ 50425 h 4981044"/>
              <a:gd name="connsiteX26" fmla="*/ 240022 w 794364"/>
              <a:gd name="connsiteY26" fmla="*/ 50425 h 4981044"/>
              <a:gd name="connsiteX27" fmla="*/ 240022 w 794364"/>
              <a:gd name="connsiteY27" fmla="*/ 0 h 4981044"/>
              <a:gd name="connsiteX28" fmla="*/ 437343 w 794364"/>
              <a:gd name="connsiteY28" fmla="*/ 0 h 4981044"/>
              <a:gd name="connsiteX29" fmla="*/ 437343 w 794364"/>
              <a:gd name="connsiteY29" fmla="*/ 50425 h 4981044"/>
              <a:gd name="connsiteX30" fmla="*/ 406693 w 794364"/>
              <a:gd name="connsiteY30" fmla="*/ 50425 h 4981044"/>
              <a:gd name="connsiteX31" fmla="*/ 406693 w 794364"/>
              <a:gd name="connsiteY31" fmla="*/ 762889 h 4981044"/>
              <a:gd name="connsiteX32" fmla="*/ 547273 w 794364"/>
              <a:gd name="connsiteY32" fmla="*/ 762889 h 4981044"/>
              <a:gd name="connsiteX33" fmla="*/ 544960 w 794364"/>
              <a:gd name="connsiteY33" fmla="*/ 50425 h 4981044"/>
              <a:gd name="connsiteX34" fmla="*/ 518628 w 794364"/>
              <a:gd name="connsiteY34" fmla="*/ 50425 h 4981044"/>
              <a:gd name="connsiteX35" fmla="*/ 518628 w 794364"/>
              <a:gd name="connsiteY35" fmla="*/ 0 h 4981044"/>
              <a:gd name="connsiteX36" fmla="*/ 715949 w 794364"/>
              <a:gd name="connsiteY36" fmla="*/ 0 h 4981044"/>
              <a:gd name="connsiteX37" fmla="*/ 715949 w 794364"/>
              <a:gd name="connsiteY37" fmla="*/ 50425 h 4981044"/>
              <a:gd name="connsiteX38" fmla="*/ 685763 w 794364"/>
              <a:gd name="connsiteY38" fmla="*/ 50425 h 4981044"/>
              <a:gd name="connsiteX39" fmla="*/ 691746 w 794364"/>
              <a:gd name="connsiteY39" fmla="*/ 767946 h 4981044"/>
              <a:gd name="connsiteX40" fmla="*/ 794364 w 794364"/>
              <a:gd name="connsiteY40"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7552 w 794364"/>
              <a:gd name="connsiteY17" fmla="*/ 301056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209837 w 794364"/>
              <a:gd name="connsiteY18" fmla="*/ 3039846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98729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063408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892817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122291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81268 w 794364"/>
              <a:gd name="connsiteY21" fmla="*/ 2833245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4364 w 794364"/>
              <a:gd name="connsiteY0" fmla="*/ 767946 h 4981044"/>
              <a:gd name="connsiteX1" fmla="*/ 794364 w 794364"/>
              <a:gd name="connsiteY1" fmla="*/ 2466866 h 4981044"/>
              <a:gd name="connsiteX2" fmla="*/ 691746 w 794364"/>
              <a:gd name="connsiteY2" fmla="*/ 2466866 h 4981044"/>
              <a:gd name="connsiteX3" fmla="*/ 691746 w 794364"/>
              <a:gd name="connsiteY3" fmla="*/ 4815708 h 4981044"/>
              <a:gd name="connsiteX4" fmla="*/ 572663 w 794364"/>
              <a:gd name="connsiteY4" fmla="*/ 4963451 h 4981044"/>
              <a:gd name="connsiteX5" fmla="*/ 135565 w 794364"/>
              <a:gd name="connsiteY5" fmla="*/ 4957476 h 4981044"/>
              <a:gd name="connsiteX6" fmla="*/ 68633 w 794364"/>
              <a:gd name="connsiteY6" fmla="*/ 4956960 h 4981044"/>
              <a:gd name="connsiteX7" fmla="*/ 68633 w 794364"/>
              <a:gd name="connsiteY7" fmla="*/ 4981044 h 4981044"/>
              <a:gd name="connsiteX8" fmla="*/ 18208 w 794364"/>
              <a:gd name="connsiteY8" fmla="*/ 4981044 h 4981044"/>
              <a:gd name="connsiteX9" fmla="*/ 18208 w 794364"/>
              <a:gd name="connsiteY9" fmla="*/ 4766062 h 4981044"/>
              <a:gd name="connsiteX10" fmla="*/ 68633 w 794364"/>
              <a:gd name="connsiteY10" fmla="*/ 4770477 h 4981044"/>
              <a:gd name="connsiteX11" fmla="*/ 68633 w 794364"/>
              <a:gd name="connsiteY11" fmla="*/ 4798418 h 4981044"/>
              <a:gd name="connsiteX12" fmla="*/ 259472 w 794364"/>
              <a:gd name="connsiteY12" fmla="*/ 4799395 h 4981044"/>
              <a:gd name="connsiteX13" fmla="*/ 492280 w 794364"/>
              <a:gd name="connsiteY13" fmla="*/ 4796168 h 4981044"/>
              <a:gd name="connsiteX14" fmla="*/ 566321 w 794364"/>
              <a:gd name="connsiteY14" fmla="*/ 4735896 h 4981044"/>
              <a:gd name="connsiteX15" fmla="*/ 572670 w 794364"/>
              <a:gd name="connsiteY15" fmla="*/ 2463112 h 4981044"/>
              <a:gd name="connsiteX16" fmla="*/ 393702 w 794364"/>
              <a:gd name="connsiteY16" fmla="*/ 2464702 h 4981044"/>
              <a:gd name="connsiteX17" fmla="*/ 390523 w 794364"/>
              <a:gd name="connsiteY17" fmla="*/ 2928149 h 4981044"/>
              <a:gd name="connsiteX18" fmla="*/ 315273 w 794364"/>
              <a:gd name="connsiteY18" fmla="*/ 3063417 h 4981044"/>
              <a:gd name="connsiteX19" fmla="*/ 3126 w 794364"/>
              <a:gd name="connsiteY19" fmla="*/ 3066061 h 4981044"/>
              <a:gd name="connsiteX20" fmla="*/ 7973 w 794364"/>
              <a:gd name="connsiteY20" fmla="*/ 2868581 h 4981044"/>
              <a:gd name="connsiteX21" fmla="*/ 278633 w 794364"/>
              <a:gd name="connsiteY21" fmla="*/ 2797923 h 4981044"/>
              <a:gd name="connsiteX22" fmla="*/ 281268 w 794364"/>
              <a:gd name="connsiteY22" fmla="*/ 2466866 h 4981044"/>
              <a:gd name="connsiteX23" fmla="*/ 212853 w 794364"/>
              <a:gd name="connsiteY23" fmla="*/ 2466866 h 4981044"/>
              <a:gd name="connsiteX24" fmla="*/ 206503 w 794364"/>
              <a:gd name="connsiteY24" fmla="*/ 753950 h 4981044"/>
              <a:gd name="connsiteX25" fmla="*/ 269867 w 794364"/>
              <a:gd name="connsiteY25" fmla="*/ 753945 h 4981044"/>
              <a:gd name="connsiteX26" fmla="*/ 269867 w 794364"/>
              <a:gd name="connsiteY26" fmla="*/ 50425 h 4981044"/>
              <a:gd name="connsiteX27" fmla="*/ 240022 w 794364"/>
              <a:gd name="connsiteY27" fmla="*/ 50425 h 4981044"/>
              <a:gd name="connsiteX28" fmla="*/ 240022 w 794364"/>
              <a:gd name="connsiteY28" fmla="*/ 0 h 4981044"/>
              <a:gd name="connsiteX29" fmla="*/ 437343 w 794364"/>
              <a:gd name="connsiteY29" fmla="*/ 0 h 4981044"/>
              <a:gd name="connsiteX30" fmla="*/ 437343 w 794364"/>
              <a:gd name="connsiteY30" fmla="*/ 50425 h 4981044"/>
              <a:gd name="connsiteX31" fmla="*/ 406693 w 794364"/>
              <a:gd name="connsiteY31" fmla="*/ 50425 h 4981044"/>
              <a:gd name="connsiteX32" fmla="*/ 406693 w 794364"/>
              <a:gd name="connsiteY32" fmla="*/ 762889 h 4981044"/>
              <a:gd name="connsiteX33" fmla="*/ 547273 w 794364"/>
              <a:gd name="connsiteY33" fmla="*/ 762889 h 4981044"/>
              <a:gd name="connsiteX34" fmla="*/ 544960 w 794364"/>
              <a:gd name="connsiteY34" fmla="*/ 50425 h 4981044"/>
              <a:gd name="connsiteX35" fmla="*/ 518628 w 794364"/>
              <a:gd name="connsiteY35" fmla="*/ 50425 h 4981044"/>
              <a:gd name="connsiteX36" fmla="*/ 518628 w 794364"/>
              <a:gd name="connsiteY36" fmla="*/ 0 h 4981044"/>
              <a:gd name="connsiteX37" fmla="*/ 715949 w 794364"/>
              <a:gd name="connsiteY37" fmla="*/ 0 h 4981044"/>
              <a:gd name="connsiteX38" fmla="*/ 715949 w 794364"/>
              <a:gd name="connsiteY38" fmla="*/ 50425 h 4981044"/>
              <a:gd name="connsiteX39" fmla="*/ 685763 w 794364"/>
              <a:gd name="connsiteY39" fmla="*/ 50425 h 4981044"/>
              <a:gd name="connsiteX40" fmla="*/ 691746 w 794364"/>
              <a:gd name="connsiteY40" fmla="*/ 767946 h 4981044"/>
              <a:gd name="connsiteX41" fmla="*/ 794364 w 794364"/>
              <a:gd name="connsiteY41" fmla="*/ 767946 h 4981044"/>
              <a:gd name="connsiteX0" fmla="*/ 795520 w 795520"/>
              <a:gd name="connsiteY0" fmla="*/ 767946 h 4981044"/>
              <a:gd name="connsiteX1" fmla="*/ 795520 w 795520"/>
              <a:gd name="connsiteY1" fmla="*/ 2466866 h 4981044"/>
              <a:gd name="connsiteX2" fmla="*/ 692902 w 795520"/>
              <a:gd name="connsiteY2" fmla="*/ 2466866 h 4981044"/>
              <a:gd name="connsiteX3" fmla="*/ 692902 w 795520"/>
              <a:gd name="connsiteY3" fmla="*/ 4815708 h 4981044"/>
              <a:gd name="connsiteX4" fmla="*/ 573819 w 795520"/>
              <a:gd name="connsiteY4" fmla="*/ 4963451 h 4981044"/>
              <a:gd name="connsiteX5" fmla="*/ 136721 w 795520"/>
              <a:gd name="connsiteY5" fmla="*/ 4957476 h 4981044"/>
              <a:gd name="connsiteX6" fmla="*/ 69789 w 795520"/>
              <a:gd name="connsiteY6" fmla="*/ 4956960 h 4981044"/>
              <a:gd name="connsiteX7" fmla="*/ 69789 w 795520"/>
              <a:gd name="connsiteY7" fmla="*/ 4981044 h 4981044"/>
              <a:gd name="connsiteX8" fmla="*/ 19364 w 795520"/>
              <a:gd name="connsiteY8" fmla="*/ 4981044 h 4981044"/>
              <a:gd name="connsiteX9" fmla="*/ 19364 w 795520"/>
              <a:gd name="connsiteY9" fmla="*/ 4766062 h 4981044"/>
              <a:gd name="connsiteX10" fmla="*/ 69789 w 795520"/>
              <a:gd name="connsiteY10" fmla="*/ 4770477 h 4981044"/>
              <a:gd name="connsiteX11" fmla="*/ 69789 w 795520"/>
              <a:gd name="connsiteY11" fmla="*/ 4798418 h 4981044"/>
              <a:gd name="connsiteX12" fmla="*/ 260628 w 795520"/>
              <a:gd name="connsiteY12" fmla="*/ 4799395 h 4981044"/>
              <a:gd name="connsiteX13" fmla="*/ 493436 w 795520"/>
              <a:gd name="connsiteY13" fmla="*/ 4796168 h 4981044"/>
              <a:gd name="connsiteX14" fmla="*/ 567477 w 795520"/>
              <a:gd name="connsiteY14" fmla="*/ 4735896 h 4981044"/>
              <a:gd name="connsiteX15" fmla="*/ 573826 w 795520"/>
              <a:gd name="connsiteY15" fmla="*/ 2463112 h 4981044"/>
              <a:gd name="connsiteX16" fmla="*/ 394858 w 795520"/>
              <a:gd name="connsiteY16" fmla="*/ 2464702 h 4981044"/>
              <a:gd name="connsiteX17" fmla="*/ 391679 w 795520"/>
              <a:gd name="connsiteY17" fmla="*/ 2928149 h 4981044"/>
              <a:gd name="connsiteX18" fmla="*/ 316429 w 795520"/>
              <a:gd name="connsiteY18" fmla="*/ 3063417 h 4981044"/>
              <a:gd name="connsiteX19" fmla="*/ 4282 w 795520"/>
              <a:gd name="connsiteY19" fmla="*/ 3066061 h 4981044"/>
              <a:gd name="connsiteX20" fmla="*/ 9129 w 795520"/>
              <a:gd name="connsiteY20" fmla="*/ 2868581 h 4981044"/>
              <a:gd name="connsiteX21" fmla="*/ 279789 w 795520"/>
              <a:gd name="connsiteY21" fmla="*/ 2797923 h 4981044"/>
              <a:gd name="connsiteX22" fmla="*/ 282424 w 795520"/>
              <a:gd name="connsiteY22" fmla="*/ 2466866 h 4981044"/>
              <a:gd name="connsiteX23" fmla="*/ 214009 w 795520"/>
              <a:gd name="connsiteY23" fmla="*/ 2466866 h 4981044"/>
              <a:gd name="connsiteX24" fmla="*/ 207659 w 795520"/>
              <a:gd name="connsiteY24" fmla="*/ 753950 h 4981044"/>
              <a:gd name="connsiteX25" fmla="*/ 271023 w 795520"/>
              <a:gd name="connsiteY25" fmla="*/ 753945 h 4981044"/>
              <a:gd name="connsiteX26" fmla="*/ 271023 w 795520"/>
              <a:gd name="connsiteY26" fmla="*/ 50425 h 4981044"/>
              <a:gd name="connsiteX27" fmla="*/ 241178 w 795520"/>
              <a:gd name="connsiteY27" fmla="*/ 50425 h 4981044"/>
              <a:gd name="connsiteX28" fmla="*/ 241178 w 795520"/>
              <a:gd name="connsiteY28" fmla="*/ 0 h 4981044"/>
              <a:gd name="connsiteX29" fmla="*/ 438499 w 795520"/>
              <a:gd name="connsiteY29" fmla="*/ 0 h 4981044"/>
              <a:gd name="connsiteX30" fmla="*/ 438499 w 795520"/>
              <a:gd name="connsiteY30" fmla="*/ 50425 h 4981044"/>
              <a:gd name="connsiteX31" fmla="*/ 407849 w 795520"/>
              <a:gd name="connsiteY31" fmla="*/ 50425 h 4981044"/>
              <a:gd name="connsiteX32" fmla="*/ 407849 w 795520"/>
              <a:gd name="connsiteY32" fmla="*/ 762889 h 4981044"/>
              <a:gd name="connsiteX33" fmla="*/ 548429 w 795520"/>
              <a:gd name="connsiteY33" fmla="*/ 762889 h 4981044"/>
              <a:gd name="connsiteX34" fmla="*/ 546116 w 795520"/>
              <a:gd name="connsiteY34" fmla="*/ 50425 h 4981044"/>
              <a:gd name="connsiteX35" fmla="*/ 519784 w 795520"/>
              <a:gd name="connsiteY35" fmla="*/ 50425 h 4981044"/>
              <a:gd name="connsiteX36" fmla="*/ 519784 w 795520"/>
              <a:gd name="connsiteY36" fmla="*/ 0 h 4981044"/>
              <a:gd name="connsiteX37" fmla="*/ 717105 w 795520"/>
              <a:gd name="connsiteY37" fmla="*/ 0 h 4981044"/>
              <a:gd name="connsiteX38" fmla="*/ 717105 w 795520"/>
              <a:gd name="connsiteY38" fmla="*/ 50425 h 4981044"/>
              <a:gd name="connsiteX39" fmla="*/ 686919 w 795520"/>
              <a:gd name="connsiteY39" fmla="*/ 50425 h 4981044"/>
              <a:gd name="connsiteX40" fmla="*/ 692902 w 795520"/>
              <a:gd name="connsiteY40" fmla="*/ 767946 h 4981044"/>
              <a:gd name="connsiteX41" fmla="*/ 795520 w 795520"/>
              <a:gd name="connsiteY41" fmla="*/ 767946 h 4981044"/>
              <a:gd name="connsiteX0" fmla="*/ 788795 w 788795"/>
              <a:gd name="connsiteY0" fmla="*/ 767946 h 4981044"/>
              <a:gd name="connsiteX1" fmla="*/ 788795 w 788795"/>
              <a:gd name="connsiteY1" fmla="*/ 2466866 h 4981044"/>
              <a:gd name="connsiteX2" fmla="*/ 686177 w 788795"/>
              <a:gd name="connsiteY2" fmla="*/ 2466866 h 4981044"/>
              <a:gd name="connsiteX3" fmla="*/ 686177 w 788795"/>
              <a:gd name="connsiteY3" fmla="*/ 4815708 h 4981044"/>
              <a:gd name="connsiteX4" fmla="*/ 567094 w 788795"/>
              <a:gd name="connsiteY4" fmla="*/ 4963451 h 4981044"/>
              <a:gd name="connsiteX5" fmla="*/ 129996 w 788795"/>
              <a:gd name="connsiteY5" fmla="*/ 4957476 h 4981044"/>
              <a:gd name="connsiteX6" fmla="*/ 63064 w 788795"/>
              <a:gd name="connsiteY6" fmla="*/ 4956960 h 4981044"/>
              <a:gd name="connsiteX7" fmla="*/ 63064 w 788795"/>
              <a:gd name="connsiteY7" fmla="*/ 4981044 h 4981044"/>
              <a:gd name="connsiteX8" fmla="*/ 12639 w 788795"/>
              <a:gd name="connsiteY8" fmla="*/ 4981044 h 4981044"/>
              <a:gd name="connsiteX9" fmla="*/ 12639 w 788795"/>
              <a:gd name="connsiteY9" fmla="*/ 4766062 h 4981044"/>
              <a:gd name="connsiteX10" fmla="*/ 63064 w 788795"/>
              <a:gd name="connsiteY10" fmla="*/ 4770477 h 4981044"/>
              <a:gd name="connsiteX11" fmla="*/ 63064 w 788795"/>
              <a:gd name="connsiteY11" fmla="*/ 4798418 h 4981044"/>
              <a:gd name="connsiteX12" fmla="*/ 253903 w 788795"/>
              <a:gd name="connsiteY12" fmla="*/ 4799395 h 4981044"/>
              <a:gd name="connsiteX13" fmla="*/ 486711 w 788795"/>
              <a:gd name="connsiteY13" fmla="*/ 4796168 h 4981044"/>
              <a:gd name="connsiteX14" fmla="*/ 560752 w 788795"/>
              <a:gd name="connsiteY14" fmla="*/ 4735896 h 4981044"/>
              <a:gd name="connsiteX15" fmla="*/ 567101 w 788795"/>
              <a:gd name="connsiteY15" fmla="*/ 2463112 h 4981044"/>
              <a:gd name="connsiteX16" fmla="*/ 388133 w 788795"/>
              <a:gd name="connsiteY16" fmla="*/ 2464702 h 4981044"/>
              <a:gd name="connsiteX17" fmla="*/ 384954 w 788795"/>
              <a:gd name="connsiteY17" fmla="*/ 2928149 h 4981044"/>
              <a:gd name="connsiteX18" fmla="*/ 309704 w 788795"/>
              <a:gd name="connsiteY18" fmla="*/ 3063417 h 4981044"/>
              <a:gd name="connsiteX19" fmla="*/ 18644 w 788795"/>
              <a:gd name="connsiteY19" fmla="*/ 3079313 h 4981044"/>
              <a:gd name="connsiteX20" fmla="*/ 2404 w 788795"/>
              <a:gd name="connsiteY20" fmla="*/ 2868581 h 4981044"/>
              <a:gd name="connsiteX21" fmla="*/ 273064 w 788795"/>
              <a:gd name="connsiteY21" fmla="*/ 2797923 h 4981044"/>
              <a:gd name="connsiteX22" fmla="*/ 275699 w 788795"/>
              <a:gd name="connsiteY22" fmla="*/ 2466866 h 4981044"/>
              <a:gd name="connsiteX23" fmla="*/ 207284 w 788795"/>
              <a:gd name="connsiteY23" fmla="*/ 2466866 h 4981044"/>
              <a:gd name="connsiteX24" fmla="*/ 200934 w 788795"/>
              <a:gd name="connsiteY24" fmla="*/ 753950 h 4981044"/>
              <a:gd name="connsiteX25" fmla="*/ 264298 w 788795"/>
              <a:gd name="connsiteY25" fmla="*/ 753945 h 4981044"/>
              <a:gd name="connsiteX26" fmla="*/ 264298 w 788795"/>
              <a:gd name="connsiteY26" fmla="*/ 50425 h 4981044"/>
              <a:gd name="connsiteX27" fmla="*/ 234453 w 788795"/>
              <a:gd name="connsiteY27" fmla="*/ 50425 h 4981044"/>
              <a:gd name="connsiteX28" fmla="*/ 234453 w 788795"/>
              <a:gd name="connsiteY28" fmla="*/ 0 h 4981044"/>
              <a:gd name="connsiteX29" fmla="*/ 431774 w 788795"/>
              <a:gd name="connsiteY29" fmla="*/ 0 h 4981044"/>
              <a:gd name="connsiteX30" fmla="*/ 431774 w 788795"/>
              <a:gd name="connsiteY30" fmla="*/ 50425 h 4981044"/>
              <a:gd name="connsiteX31" fmla="*/ 401124 w 788795"/>
              <a:gd name="connsiteY31" fmla="*/ 50425 h 4981044"/>
              <a:gd name="connsiteX32" fmla="*/ 401124 w 788795"/>
              <a:gd name="connsiteY32" fmla="*/ 762889 h 4981044"/>
              <a:gd name="connsiteX33" fmla="*/ 541704 w 788795"/>
              <a:gd name="connsiteY33" fmla="*/ 762889 h 4981044"/>
              <a:gd name="connsiteX34" fmla="*/ 539391 w 788795"/>
              <a:gd name="connsiteY34" fmla="*/ 50425 h 4981044"/>
              <a:gd name="connsiteX35" fmla="*/ 513059 w 788795"/>
              <a:gd name="connsiteY35" fmla="*/ 50425 h 4981044"/>
              <a:gd name="connsiteX36" fmla="*/ 513059 w 788795"/>
              <a:gd name="connsiteY36" fmla="*/ 0 h 4981044"/>
              <a:gd name="connsiteX37" fmla="*/ 710380 w 788795"/>
              <a:gd name="connsiteY37" fmla="*/ 0 h 4981044"/>
              <a:gd name="connsiteX38" fmla="*/ 710380 w 788795"/>
              <a:gd name="connsiteY38" fmla="*/ 50425 h 4981044"/>
              <a:gd name="connsiteX39" fmla="*/ 680194 w 788795"/>
              <a:gd name="connsiteY39" fmla="*/ 50425 h 4981044"/>
              <a:gd name="connsiteX40" fmla="*/ 686177 w 788795"/>
              <a:gd name="connsiteY40" fmla="*/ 767946 h 4981044"/>
              <a:gd name="connsiteX41" fmla="*/ 788795 w 78879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76635 w 776635"/>
              <a:gd name="connsiteY0" fmla="*/ 767946 h 4981044"/>
              <a:gd name="connsiteX1" fmla="*/ 776635 w 776635"/>
              <a:gd name="connsiteY1" fmla="*/ 2466866 h 4981044"/>
              <a:gd name="connsiteX2" fmla="*/ 674017 w 776635"/>
              <a:gd name="connsiteY2" fmla="*/ 2466866 h 4981044"/>
              <a:gd name="connsiteX3" fmla="*/ 674017 w 776635"/>
              <a:gd name="connsiteY3" fmla="*/ 4815708 h 4981044"/>
              <a:gd name="connsiteX4" fmla="*/ 554934 w 776635"/>
              <a:gd name="connsiteY4" fmla="*/ 4963451 h 4981044"/>
              <a:gd name="connsiteX5" fmla="*/ 117836 w 776635"/>
              <a:gd name="connsiteY5" fmla="*/ 4957476 h 4981044"/>
              <a:gd name="connsiteX6" fmla="*/ 50904 w 776635"/>
              <a:gd name="connsiteY6" fmla="*/ 4956960 h 4981044"/>
              <a:gd name="connsiteX7" fmla="*/ 50904 w 776635"/>
              <a:gd name="connsiteY7" fmla="*/ 4981044 h 4981044"/>
              <a:gd name="connsiteX8" fmla="*/ 479 w 776635"/>
              <a:gd name="connsiteY8" fmla="*/ 4981044 h 4981044"/>
              <a:gd name="connsiteX9" fmla="*/ 479 w 776635"/>
              <a:gd name="connsiteY9" fmla="*/ 4766062 h 4981044"/>
              <a:gd name="connsiteX10" fmla="*/ 50904 w 776635"/>
              <a:gd name="connsiteY10" fmla="*/ 4770477 h 4981044"/>
              <a:gd name="connsiteX11" fmla="*/ 50904 w 776635"/>
              <a:gd name="connsiteY11" fmla="*/ 4798418 h 4981044"/>
              <a:gd name="connsiteX12" fmla="*/ 241743 w 776635"/>
              <a:gd name="connsiteY12" fmla="*/ 4799395 h 4981044"/>
              <a:gd name="connsiteX13" fmla="*/ 474551 w 776635"/>
              <a:gd name="connsiteY13" fmla="*/ 4796168 h 4981044"/>
              <a:gd name="connsiteX14" fmla="*/ 548592 w 776635"/>
              <a:gd name="connsiteY14" fmla="*/ 4735896 h 4981044"/>
              <a:gd name="connsiteX15" fmla="*/ 554941 w 776635"/>
              <a:gd name="connsiteY15" fmla="*/ 2463112 h 4981044"/>
              <a:gd name="connsiteX16" fmla="*/ 375973 w 776635"/>
              <a:gd name="connsiteY16" fmla="*/ 2464702 h 4981044"/>
              <a:gd name="connsiteX17" fmla="*/ 372794 w 776635"/>
              <a:gd name="connsiteY17" fmla="*/ 2928149 h 4981044"/>
              <a:gd name="connsiteX18" fmla="*/ 297544 w 776635"/>
              <a:gd name="connsiteY18" fmla="*/ 3063417 h 4981044"/>
              <a:gd name="connsiteX19" fmla="*/ 6484 w 776635"/>
              <a:gd name="connsiteY19" fmla="*/ 3079313 h 4981044"/>
              <a:gd name="connsiteX20" fmla="*/ 6059 w 776635"/>
              <a:gd name="connsiteY20" fmla="*/ 2877413 h 4981044"/>
              <a:gd name="connsiteX21" fmla="*/ 260904 w 776635"/>
              <a:gd name="connsiteY21" fmla="*/ 2797923 h 4981044"/>
              <a:gd name="connsiteX22" fmla="*/ 263539 w 776635"/>
              <a:gd name="connsiteY22" fmla="*/ 2466866 h 4981044"/>
              <a:gd name="connsiteX23" fmla="*/ 195124 w 776635"/>
              <a:gd name="connsiteY23" fmla="*/ 2466866 h 4981044"/>
              <a:gd name="connsiteX24" fmla="*/ 188774 w 776635"/>
              <a:gd name="connsiteY24" fmla="*/ 753950 h 4981044"/>
              <a:gd name="connsiteX25" fmla="*/ 252138 w 776635"/>
              <a:gd name="connsiteY25" fmla="*/ 753945 h 4981044"/>
              <a:gd name="connsiteX26" fmla="*/ 252138 w 776635"/>
              <a:gd name="connsiteY26" fmla="*/ 50425 h 4981044"/>
              <a:gd name="connsiteX27" fmla="*/ 222293 w 776635"/>
              <a:gd name="connsiteY27" fmla="*/ 50425 h 4981044"/>
              <a:gd name="connsiteX28" fmla="*/ 222293 w 776635"/>
              <a:gd name="connsiteY28" fmla="*/ 0 h 4981044"/>
              <a:gd name="connsiteX29" fmla="*/ 419614 w 776635"/>
              <a:gd name="connsiteY29" fmla="*/ 0 h 4981044"/>
              <a:gd name="connsiteX30" fmla="*/ 419614 w 776635"/>
              <a:gd name="connsiteY30" fmla="*/ 50425 h 4981044"/>
              <a:gd name="connsiteX31" fmla="*/ 388964 w 776635"/>
              <a:gd name="connsiteY31" fmla="*/ 50425 h 4981044"/>
              <a:gd name="connsiteX32" fmla="*/ 388964 w 776635"/>
              <a:gd name="connsiteY32" fmla="*/ 762889 h 4981044"/>
              <a:gd name="connsiteX33" fmla="*/ 529544 w 776635"/>
              <a:gd name="connsiteY33" fmla="*/ 762889 h 4981044"/>
              <a:gd name="connsiteX34" fmla="*/ 527231 w 776635"/>
              <a:gd name="connsiteY34" fmla="*/ 50425 h 4981044"/>
              <a:gd name="connsiteX35" fmla="*/ 500899 w 776635"/>
              <a:gd name="connsiteY35" fmla="*/ 50425 h 4981044"/>
              <a:gd name="connsiteX36" fmla="*/ 500899 w 776635"/>
              <a:gd name="connsiteY36" fmla="*/ 0 h 4981044"/>
              <a:gd name="connsiteX37" fmla="*/ 698220 w 776635"/>
              <a:gd name="connsiteY37" fmla="*/ 0 h 4981044"/>
              <a:gd name="connsiteX38" fmla="*/ 698220 w 776635"/>
              <a:gd name="connsiteY38" fmla="*/ 50425 h 4981044"/>
              <a:gd name="connsiteX39" fmla="*/ 668034 w 776635"/>
              <a:gd name="connsiteY39" fmla="*/ 50425 h 4981044"/>
              <a:gd name="connsiteX40" fmla="*/ 674017 w 776635"/>
              <a:gd name="connsiteY40" fmla="*/ 767946 h 4981044"/>
              <a:gd name="connsiteX41" fmla="*/ 776635 w 776635"/>
              <a:gd name="connsiteY41" fmla="*/ 767946 h 4981044"/>
              <a:gd name="connsiteX0" fmla="*/ 794442 w 794442"/>
              <a:gd name="connsiteY0" fmla="*/ 767946 h 4981044"/>
              <a:gd name="connsiteX1" fmla="*/ 794442 w 794442"/>
              <a:gd name="connsiteY1" fmla="*/ 2466866 h 4981044"/>
              <a:gd name="connsiteX2" fmla="*/ 691824 w 794442"/>
              <a:gd name="connsiteY2" fmla="*/ 2466866 h 4981044"/>
              <a:gd name="connsiteX3" fmla="*/ 691824 w 794442"/>
              <a:gd name="connsiteY3" fmla="*/ 4815708 h 4981044"/>
              <a:gd name="connsiteX4" fmla="*/ 572741 w 794442"/>
              <a:gd name="connsiteY4" fmla="*/ 4963451 h 4981044"/>
              <a:gd name="connsiteX5" fmla="*/ 135643 w 794442"/>
              <a:gd name="connsiteY5" fmla="*/ 4957476 h 4981044"/>
              <a:gd name="connsiteX6" fmla="*/ 68711 w 794442"/>
              <a:gd name="connsiteY6" fmla="*/ 4956960 h 4981044"/>
              <a:gd name="connsiteX7" fmla="*/ 68711 w 794442"/>
              <a:gd name="connsiteY7" fmla="*/ 4981044 h 4981044"/>
              <a:gd name="connsiteX8" fmla="*/ 18286 w 794442"/>
              <a:gd name="connsiteY8" fmla="*/ 4981044 h 4981044"/>
              <a:gd name="connsiteX9" fmla="*/ 18286 w 794442"/>
              <a:gd name="connsiteY9" fmla="*/ 4766062 h 4981044"/>
              <a:gd name="connsiteX10" fmla="*/ 68711 w 794442"/>
              <a:gd name="connsiteY10" fmla="*/ 4770477 h 4981044"/>
              <a:gd name="connsiteX11" fmla="*/ 68711 w 794442"/>
              <a:gd name="connsiteY11" fmla="*/ 4798418 h 4981044"/>
              <a:gd name="connsiteX12" fmla="*/ 259550 w 794442"/>
              <a:gd name="connsiteY12" fmla="*/ 4799395 h 4981044"/>
              <a:gd name="connsiteX13" fmla="*/ 492358 w 794442"/>
              <a:gd name="connsiteY13" fmla="*/ 4796168 h 4981044"/>
              <a:gd name="connsiteX14" fmla="*/ 566399 w 794442"/>
              <a:gd name="connsiteY14" fmla="*/ 4735896 h 4981044"/>
              <a:gd name="connsiteX15" fmla="*/ 572748 w 794442"/>
              <a:gd name="connsiteY15" fmla="*/ 2463112 h 4981044"/>
              <a:gd name="connsiteX16" fmla="*/ 393780 w 794442"/>
              <a:gd name="connsiteY16" fmla="*/ 2464702 h 4981044"/>
              <a:gd name="connsiteX17" fmla="*/ 390601 w 794442"/>
              <a:gd name="connsiteY17" fmla="*/ 2928149 h 4981044"/>
              <a:gd name="connsiteX18" fmla="*/ 315351 w 794442"/>
              <a:gd name="connsiteY18" fmla="*/ 3063417 h 4981044"/>
              <a:gd name="connsiteX19" fmla="*/ 24291 w 794442"/>
              <a:gd name="connsiteY19" fmla="*/ 3079313 h 4981044"/>
              <a:gd name="connsiteX20" fmla="*/ 16616 w 794442"/>
              <a:gd name="connsiteY20" fmla="*/ 2904423 h 4981044"/>
              <a:gd name="connsiteX21" fmla="*/ 23866 w 794442"/>
              <a:gd name="connsiteY21" fmla="*/ 2877413 h 4981044"/>
              <a:gd name="connsiteX22" fmla="*/ 278711 w 794442"/>
              <a:gd name="connsiteY22" fmla="*/ 2797923 h 4981044"/>
              <a:gd name="connsiteX23" fmla="*/ 281346 w 794442"/>
              <a:gd name="connsiteY23" fmla="*/ 2466866 h 4981044"/>
              <a:gd name="connsiteX24" fmla="*/ 212931 w 794442"/>
              <a:gd name="connsiteY24" fmla="*/ 2466866 h 4981044"/>
              <a:gd name="connsiteX25" fmla="*/ 206581 w 794442"/>
              <a:gd name="connsiteY25" fmla="*/ 753950 h 4981044"/>
              <a:gd name="connsiteX26" fmla="*/ 269945 w 794442"/>
              <a:gd name="connsiteY26" fmla="*/ 753945 h 4981044"/>
              <a:gd name="connsiteX27" fmla="*/ 269945 w 794442"/>
              <a:gd name="connsiteY27" fmla="*/ 50425 h 4981044"/>
              <a:gd name="connsiteX28" fmla="*/ 240100 w 794442"/>
              <a:gd name="connsiteY28" fmla="*/ 50425 h 4981044"/>
              <a:gd name="connsiteX29" fmla="*/ 240100 w 794442"/>
              <a:gd name="connsiteY29" fmla="*/ 0 h 4981044"/>
              <a:gd name="connsiteX30" fmla="*/ 437421 w 794442"/>
              <a:gd name="connsiteY30" fmla="*/ 0 h 4981044"/>
              <a:gd name="connsiteX31" fmla="*/ 437421 w 794442"/>
              <a:gd name="connsiteY31" fmla="*/ 50425 h 4981044"/>
              <a:gd name="connsiteX32" fmla="*/ 406771 w 794442"/>
              <a:gd name="connsiteY32" fmla="*/ 50425 h 4981044"/>
              <a:gd name="connsiteX33" fmla="*/ 406771 w 794442"/>
              <a:gd name="connsiteY33" fmla="*/ 762889 h 4981044"/>
              <a:gd name="connsiteX34" fmla="*/ 547351 w 794442"/>
              <a:gd name="connsiteY34" fmla="*/ 762889 h 4981044"/>
              <a:gd name="connsiteX35" fmla="*/ 545038 w 794442"/>
              <a:gd name="connsiteY35" fmla="*/ 50425 h 4981044"/>
              <a:gd name="connsiteX36" fmla="*/ 518706 w 794442"/>
              <a:gd name="connsiteY36" fmla="*/ 50425 h 4981044"/>
              <a:gd name="connsiteX37" fmla="*/ 518706 w 794442"/>
              <a:gd name="connsiteY37" fmla="*/ 0 h 4981044"/>
              <a:gd name="connsiteX38" fmla="*/ 716027 w 794442"/>
              <a:gd name="connsiteY38" fmla="*/ 0 h 4981044"/>
              <a:gd name="connsiteX39" fmla="*/ 716027 w 794442"/>
              <a:gd name="connsiteY39" fmla="*/ 50425 h 4981044"/>
              <a:gd name="connsiteX40" fmla="*/ 685841 w 794442"/>
              <a:gd name="connsiteY40" fmla="*/ 50425 h 4981044"/>
              <a:gd name="connsiteX41" fmla="*/ 691824 w 794442"/>
              <a:gd name="connsiteY41" fmla="*/ 767946 h 4981044"/>
              <a:gd name="connsiteX42" fmla="*/ 794442 w 79444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19206 w 789782"/>
              <a:gd name="connsiteY21" fmla="*/ 2877413 h 4981044"/>
              <a:gd name="connsiteX22" fmla="*/ 274051 w 789782"/>
              <a:gd name="connsiteY22" fmla="*/ 2797923 h 4981044"/>
              <a:gd name="connsiteX23" fmla="*/ 276686 w 789782"/>
              <a:gd name="connsiteY23" fmla="*/ 2466866 h 4981044"/>
              <a:gd name="connsiteX24" fmla="*/ 208271 w 789782"/>
              <a:gd name="connsiteY24" fmla="*/ 2466866 h 4981044"/>
              <a:gd name="connsiteX25" fmla="*/ 201921 w 789782"/>
              <a:gd name="connsiteY25" fmla="*/ 753950 h 4981044"/>
              <a:gd name="connsiteX26" fmla="*/ 265285 w 789782"/>
              <a:gd name="connsiteY26" fmla="*/ 753945 h 4981044"/>
              <a:gd name="connsiteX27" fmla="*/ 265285 w 789782"/>
              <a:gd name="connsiteY27" fmla="*/ 50425 h 4981044"/>
              <a:gd name="connsiteX28" fmla="*/ 235440 w 789782"/>
              <a:gd name="connsiteY28" fmla="*/ 50425 h 4981044"/>
              <a:gd name="connsiteX29" fmla="*/ 235440 w 789782"/>
              <a:gd name="connsiteY29" fmla="*/ 0 h 4981044"/>
              <a:gd name="connsiteX30" fmla="*/ 432761 w 789782"/>
              <a:gd name="connsiteY30" fmla="*/ 0 h 4981044"/>
              <a:gd name="connsiteX31" fmla="*/ 432761 w 789782"/>
              <a:gd name="connsiteY31" fmla="*/ 50425 h 4981044"/>
              <a:gd name="connsiteX32" fmla="*/ 402111 w 789782"/>
              <a:gd name="connsiteY32" fmla="*/ 50425 h 4981044"/>
              <a:gd name="connsiteX33" fmla="*/ 402111 w 789782"/>
              <a:gd name="connsiteY33" fmla="*/ 762889 h 4981044"/>
              <a:gd name="connsiteX34" fmla="*/ 542691 w 789782"/>
              <a:gd name="connsiteY34" fmla="*/ 762889 h 4981044"/>
              <a:gd name="connsiteX35" fmla="*/ 540378 w 789782"/>
              <a:gd name="connsiteY35" fmla="*/ 50425 h 4981044"/>
              <a:gd name="connsiteX36" fmla="*/ 514046 w 789782"/>
              <a:gd name="connsiteY36" fmla="*/ 50425 h 4981044"/>
              <a:gd name="connsiteX37" fmla="*/ 514046 w 789782"/>
              <a:gd name="connsiteY37" fmla="*/ 0 h 4981044"/>
              <a:gd name="connsiteX38" fmla="*/ 711367 w 789782"/>
              <a:gd name="connsiteY38" fmla="*/ 0 h 4981044"/>
              <a:gd name="connsiteX39" fmla="*/ 711367 w 789782"/>
              <a:gd name="connsiteY39" fmla="*/ 50425 h 4981044"/>
              <a:gd name="connsiteX40" fmla="*/ 681181 w 789782"/>
              <a:gd name="connsiteY40" fmla="*/ 50425 h 4981044"/>
              <a:gd name="connsiteX41" fmla="*/ 687164 w 789782"/>
              <a:gd name="connsiteY41" fmla="*/ 767946 h 4981044"/>
              <a:gd name="connsiteX42" fmla="*/ 789782 w 789782"/>
              <a:gd name="connsiteY42" fmla="*/ 767946 h 4981044"/>
              <a:gd name="connsiteX0" fmla="*/ 789782 w 789782"/>
              <a:gd name="connsiteY0" fmla="*/ 767946 h 4981044"/>
              <a:gd name="connsiteX1" fmla="*/ 789782 w 789782"/>
              <a:gd name="connsiteY1" fmla="*/ 2466866 h 4981044"/>
              <a:gd name="connsiteX2" fmla="*/ 687164 w 789782"/>
              <a:gd name="connsiteY2" fmla="*/ 2466866 h 4981044"/>
              <a:gd name="connsiteX3" fmla="*/ 687164 w 789782"/>
              <a:gd name="connsiteY3" fmla="*/ 4815708 h 4981044"/>
              <a:gd name="connsiteX4" fmla="*/ 568081 w 789782"/>
              <a:gd name="connsiteY4" fmla="*/ 4963451 h 4981044"/>
              <a:gd name="connsiteX5" fmla="*/ 130983 w 789782"/>
              <a:gd name="connsiteY5" fmla="*/ 4957476 h 4981044"/>
              <a:gd name="connsiteX6" fmla="*/ 64051 w 789782"/>
              <a:gd name="connsiteY6" fmla="*/ 4956960 h 4981044"/>
              <a:gd name="connsiteX7" fmla="*/ 64051 w 789782"/>
              <a:gd name="connsiteY7" fmla="*/ 4981044 h 4981044"/>
              <a:gd name="connsiteX8" fmla="*/ 13626 w 789782"/>
              <a:gd name="connsiteY8" fmla="*/ 4981044 h 4981044"/>
              <a:gd name="connsiteX9" fmla="*/ 13626 w 789782"/>
              <a:gd name="connsiteY9" fmla="*/ 4766062 h 4981044"/>
              <a:gd name="connsiteX10" fmla="*/ 64051 w 789782"/>
              <a:gd name="connsiteY10" fmla="*/ 4770477 h 4981044"/>
              <a:gd name="connsiteX11" fmla="*/ 64051 w 789782"/>
              <a:gd name="connsiteY11" fmla="*/ 4798418 h 4981044"/>
              <a:gd name="connsiteX12" fmla="*/ 254890 w 789782"/>
              <a:gd name="connsiteY12" fmla="*/ 4799395 h 4981044"/>
              <a:gd name="connsiteX13" fmla="*/ 487698 w 789782"/>
              <a:gd name="connsiteY13" fmla="*/ 4796168 h 4981044"/>
              <a:gd name="connsiteX14" fmla="*/ 561739 w 789782"/>
              <a:gd name="connsiteY14" fmla="*/ 4735896 h 4981044"/>
              <a:gd name="connsiteX15" fmla="*/ 568088 w 789782"/>
              <a:gd name="connsiteY15" fmla="*/ 2463112 h 4981044"/>
              <a:gd name="connsiteX16" fmla="*/ 389120 w 789782"/>
              <a:gd name="connsiteY16" fmla="*/ 2464702 h 4981044"/>
              <a:gd name="connsiteX17" fmla="*/ 385941 w 789782"/>
              <a:gd name="connsiteY17" fmla="*/ 2928149 h 4981044"/>
              <a:gd name="connsiteX18" fmla="*/ 310691 w 789782"/>
              <a:gd name="connsiteY18" fmla="*/ 3063417 h 4981044"/>
              <a:gd name="connsiteX19" fmla="*/ 19631 w 789782"/>
              <a:gd name="connsiteY19" fmla="*/ 3079313 h 4981044"/>
              <a:gd name="connsiteX20" fmla="*/ 30406 w 789782"/>
              <a:gd name="connsiteY20" fmla="*/ 2767532 h 4981044"/>
              <a:gd name="connsiteX21" fmla="*/ 27772 w 789782"/>
              <a:gd name="connsiteY21" fmla="*/ 2763116 h 4981044"/>
              <a:gd name="connsiteX22" fmla="*/ 19206 w 789782"/>
              <a:gd name="connsiteY22" fmla="*/ 2877413 h 4981044"/>
              <a:gd name="connsiteX23" fmla="*/ 274051 w 789782"/>
              <a:gd name="connsiteY23" fmla="*/ 2797923 h 4981044"/>
              <a:gd name="connsiteX24" fmla="*/ 276686 w 789782"/>
              <a:gd name="connsiteY24" fmla="*/ 2466866 h 4981044"/>
              <a:gd name="connsiteX25" fmla="*/ 208271 w 789782"/>
              <a:gd name="connsiteY25" fmla="*/ 2466866 h 4981044"/>
              <a:gd name="connsiteX26" fmla="*/ 201921 w 789782"/>
              <a:gd name="connsiteY26" fmla="*/ 753950 h 4981044"/>
              <a:gd name="connsiteX27" fmla="*/ 265285 w 789782"/>
              <a:gd name="connsiteY27" fmla="*/ 753945 h 4981044"/>
              <a:gd name="connsiteX28" fmla="*/ 265285 w 789782"/>
              <a:gd name="connsiteY28" fmla="*/ 50425 h 4981044"/>
              <a:gd name="connsiteX29" fmla="*/ 235440 w 789782"/>
              <a:gd name="connsiteY29" fmla="*/ 50425 h 4981044"/>
              <a:gd name="connsiteX30" fmla="*/ 235440 w 789782"/>
              <a:gd name="connsiteY30" fmla="*/ 0 h 4981044"/>
              <a:gd name="connsiteX31" fmla="*/ 432761 w 789782"/>
              <a:gd name="connsiteY31" fmla="*/ 0 h 4981044"/>
              <a:gd name="connsiteX32" fmla="*/ 432761 w 789782"/>
              <a:gd name="connsiteY32" fmla="*/ 50425 h 4981044"/>
              <a:gd name="connsiteX33" fmla="*/ 402111 w 789782"/>
              <a:gd name="connsiteY33" fmla="*/ 50425 h 4981044"/>
              <a:gd name="connsiteX34" fmla="*/ 402111 w 789782"/>
              <a:gd name="connsiteY34" fmla="*/ 762889 h 4981044"/>
              <a:gd name="connsiteX35" fmla="*/ 542691 w 789782"/>
              <a:gd name="connsiteY35" fmla="*/ 762889 h 4981044"/>
              <a:gd name="connsiteX36" fmla="*/ 540378 w 789782"/>
              <a:gd name="connsiteY36" fmla="*/ 50425 h 4981044"/>
              <a:gd name="connsiteX37" fmla="*/ 514046 w 789782"/>
              <a:gd name="connsiteY37" fmla="*/ 50425 h 4981044"/>
              <a:gd name="connsiteX38" fmla="*/ 514046 w 789782"/>
              <a:gd name="connsiteY38" fmla="*/ 0 h 4981044"/>
              <a:gd name="connsiteX39" fmla="*/ 711367 w 789782"/>
              <a:gd name="connsiteY39" fmla="*/ 0 h 4981044"/>
              <a:gd name="connsiteX40" fmla="*/ 711367 w 789782"/>
              <a:gd name="connsiteY40" fmla="*/ 50425 h 4981044"/>
              <a:gd name="connsiteX41" fmla="*/ 681181 w 789782"/>
              <a:gd name="connsiteY41" fmla="*/ 50425 h 4981044"/>
              <a:gd name="connsiteX42" fmla="*/ 687164 w 789782"/>
              <a:gd name="connsiteY42" fmla="*/ 767946 h 4981044"/>
              <a:gd name="connsiteX43" fmla="*/ 789782 w 789782"/>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48337 w 810347"/>
              <a:gd name="connsiteY21" fmla="*/ 2763116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789612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789610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10347 w 810347"/>
              <a:gd name="connsiteY0" fmla="*/ 767946 h 4981044"/>
              <a:gd name="connsiteX1" fmla="*/ 810347 w 810347"/>
              <a:gd name="connsiteY1" fmla="*/ 2466866 h 4981044"/>
              <a:gd name="connsiteX2" fmla="*/ 707729 w 810347"/>
              <a:gd name="connsiteY2" fmla="*/ 2466866 h 4981044"/>
              <a:gd name="connsiteX3" fmla="*/ 707729 w 810347"/>
              <a:gd name="connsiteY3" fmla="*/ 4815708 h 4981044"/>
              <a:gd name="connsiteX4" fmla="*/ 588646 w 810347"/>
              <a:gd name="connsiteY4" fmla="*/ 4963451 h 4981044"/>
              <a:gd name="connsiteX5" fmla="*/ 151548 w 810347"/>
              <a:gd name="connsiteY5" fmla="*/ 4957476 h 4981044"/>
              <a:gd name="connsiteX6" fmla="*/ 84616 w 810347"/>
              <a:gd name="connsiteY6" fmla="*/ 4956960 h 4981044"/>
              <a:gd name="connsiteX7" fmla="*/ 84616 w 810347"/>
              <a:gd name="connsiteY7" fmla="*/ 4981044 h 4981044"/>
              <a:gd name="connsiteX8" fmla="*/ 34191 w 810347"/>
              <a:gd name="connsiteY8" fmla="*/ 4981044 h 4981044"/>
              <a:gd name="connsiteX9" fmla="*/ 34191 w 810347"/>
              <a:gd name="connsiteY9" fmla="*/ 4766062 h 4981044"/>
              <a:gd name="connsiteX10" fmla="*/ 84616 w 810347"/>
              <a:gd name="connsiteY10" fmla="*/ 4770477 h 4981044"/>
              <a:gd name="connsiteX11" fmla="*/ 84616 w 810347"/>
              <a:gd name="connsiteY11" fmla="*/ 4798418 h 4981044"/>
              <a:gd name="connsiteX12" fmla="*/ 275455 w 810347"/>
              <a:gd name="connsiteY12" fmla="*/ 4799395 h 4981044"/>
              <a:gd name="connsiteX13" fmla="*/ 508263 w 810347"/>
              <a:gd name="connsiteY13" fmla="*/ 4796168 h 4981044"/>
              <a:gd name="connsiteX14" fmla="*/ 582304 w 810347"/>
              <a:gd name="connsiteY14" fmla="*/ 4735896 h 4981044"/>
              <a:gd name="connsiteX15" fmla="*/ 588653 w 810347"/>
              <a:gd name="connsiteY15" fmla="*/ 2463112 h 4981044"/>
              <a:gd name="connsiteX16" fmla="*/ 409685 w 810347"/>
              <a:gd name="connsiteY16" fmla="*/ 2464702 h 4981044"/>
              <a:gd name="connsiteX17" fmla="*/ 406506 w 810347"/>
              <a:gd name="connsiteY17" fmla="*/ 2928149 h 4981044"/>
              <a:gd name="connsiteX18" fmla="*/ 331256 w 810347"/>
              <a:gd name="connsiteY18" fmla="*/ 3063417 h 4981044"/>
              <a:gd name="connsiteX19" fmla="*/ 40196 w 810347"/>
              <a:gd name="connsiteY19" fmla="*/ 3079313 h 4981044"/>
              <a:gd name="connsiteX20" fmla="*/ 890 w 810347"/>
              <a:gd name="connsiteY20" fmla="*/ 2855846 h 4981044"/>
              <a:gd name="connsiteX21" fmla="*/ 35157 w 810347"/>
              <a:gd name="connsiteY21" fmla="*/ 2820523 h 4981044"/>
              <a:gd name="connsiteX22" fmla="*/ 39771 w 810347"/>
              <a:gd name="connsiteY22" fmla="*/ 2877413 h 4981044"/>
              <a:gd name="connsiteX23" fmla="*/ 294616 w 810347"/>
              <a:gd name="connsiteY23" fmla="*/ 2797923 h 4981044"/>
              <a:gd name="connsiteX24" fmla="*/ 297251 w 810347"/>
              <a:gd name="connsiteY24" fmla="*/ 2466866 h 4981044"/>
              <a:gd name="connsiteX25" fmla="*/ 228836 w 810347"/>
              <a:gd name="connsiteY25" fmla="*/ 2466866 h 4981044"/>
              <a:gd name="connsiteX26" fmla="*/ 222486 w 810347"/>
              <a:gd name="connsiteY26" fmla="*/ 753950 h 4981044"/>
              <a:gd name="connsiteX27" fmla="*/ 285850 w 810347"/>
              <a:gd name="connsiteY27" fmla="*/ 753945 h 4981044"/>
              <a:gd name="connsiteX28" fmla="*/ 285850 w 810347"/>
              <a:gd name="connsiteY28" fmla="*/ 50425 h 4981044"/>
              <a:gd name="connsiteX29" fmla="*/ 256005 w 810347"/>
              <a:gd name="connsiteY29" fmla="*/ 50425 h 4981044"/>
              <a:gd name="connsiteX30" fmla="*/ 256005 w 810347"/>
              <a:gd name="connsiteY30" fmla="*/ 0 h 4981044"/>
              <a:gd name="connsiteX31" fmla="*/ 453326 w 810347"/>
              <a:gd name="connsiteY31" fmla="*/ 0 h 4981044"/>
              <a:gd name="connsiteX32" fmla="*/ 453326 w 810347"/>
              <a:gd name="connsiteY32" fmla="*/ 50425 h 4981044"/>
              <a:gd name="connsiteX33" fmla="*/ 422676 w 810347"/>
              <a:gd name="connsiteY33" fmla="*/ 50425 h 4981044"/>
              <a:gd name="connsiteX34" fmla="*/ 422676 w 810347"/>
              <a:gd name="connsiteY34" fmla="*/ 762889 h 4981044"/>
              <a:gd name="connsiteX35" fmla="*/ 563256 w 810347"/>
              <a:gd name="connsiteY35" fmla="*/ 762889 h 4981044"/>
              <a:gd name="connsiteX36" fmla="*/ 560943 w 810347"/>
              <a:gd name="connsiteY36" fmla="*/ 50425 h 4981044"/>
              <a:gd name="connsiteX37" fmla="*/ 534611 w 810347"/>
              <a:gd name="connsiteY37" fmla="*/ 50425 h 4981044"/>
              <a:gd name="connsiteX38" fmla="*/ 534611 w 810347"/>
              <a:gd name="connsiteY38" fmla="*/ 0 h 4981044"/>
              <a:gd name="connsiteX39" fmla="*/ 731932 w 810347"/>
              <a:gd name="connsiteY39" fmla="*/ 0 h 4981044"/>
              <a:gd name="connsiteX40" fmla="*/ 731932 w 810347"/>
              <a:gd name="connsiteY40" fmla="*/ 50425 h 4981044"/>
              <a:gd name="connsiteX41" fmla="*/ 701746 w 810347"/>
              <a:gd name="connsiteY41" fmla="*/ 50425 h 4981044"/>
              <a:gd name="connsiteX42" fmla="*/ 707729 w 810347"/>
              <a:gd name="connsiteY42" fmla="*/ 767946 h 4981044"/>
              <a:gd name="connsiteX43" fmla="*/ 810347 w 810347"/>
              <a:gd name="connsiteY43"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6903 w 809457"/>
              <a:gd name="connsiteY20" fmla="*/ 3085471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5272 w 809457"/>
              <a:gd name="connsiteY20" fmla="*/ 3089886 h 4981044"/>
              <a:gd name="connsiteX21" fmla="*/ 0 w 809457"/>
              <a:gd name="connsiteY21" fmla="*/ 2855846 h 4981044"/>
              <a:gd name="connsiteX22" fmla="*/ 34267 w 809457"/>
              <a:gd name="connsiteY22" fmla="*/ 2820523 h 4981044"/>
              <a:gd name="connsiteX23" fmla="*/ 38881 w 809457"/>
              <a:gd name="connsiteY23" fmla="*/ 2877413 h 4981044"/>
              <a:gd name="connsiteX24" fmla="*/ 293726 w 809457"/>
              <a:gd name="connsiteY24" fmla="*/ 2797923 h 4981044"/>
              <a:gd name="connsiteX25" fmla="*/ 296361 w 809457"/>
              <a:gd name="connsiteY25" fmla="*/ 2466866 h 4981044"/>
              <a:gd name="connsiteX26" fmla="*/ 227946 w 809457"/>
              <a:gd name="connsiteY26" fmla="*/ 2466866 h 4981044"/>
              <a:gd name="connsiteX27" fmla="*/ 221596 w 809457"/>
              <a:gd name="connsiteY27" fmla="*/ 753950 h 4981044"/>
              <a:gd name="connsiteX28" fmla="*/ 284960 w 809457"/>
              <a:gd name="connsiteY28" fmla="*/ 753945 h 4981044"/>
              <a:gd name="connsiteX29" fmla="*/ 284960 w 809457"/>
              <a:gd name="connsiteY29" fmla="*/ 50425 h 4981044"/>
              <a:gd name="connsiteX30" fmla="*/ 255115 w 809457"/>
              <a:gd name="connsiteY30" fmla="*/ 50425 h 4981044"/>
              <a:gd name="connsiteX31" fmla="*/ 255115 w 809457"/>
              <a:gd name="connsiteY31" fmla="*/ 0 h 4981044"/>
              <a:gd name="connsiteX32" fmla="*/ 452436 w 809457"/>
              <a:gd name="connsiteY32" fmla="*/ 0 h 4981044"/>
              <a:gd name="connsiteX33" fmla="*/ 452436 w 809457"/>
              <a:gd name="connsiteY33" fmla="*/ 50425 h 4981044"/>
              <a:gd name="connsiteX34" fmla="*/ 421786 w 809457"/>
              <a:gd name="connsiteY34" fmla="*/ 50425 h 4981044"/>
              <a:gd name="connsiteX35" fmla="*/ 421786 w 809457"/>
              <a:gd name="connsiteY35" fmla="*/ 762889 h 4981044"/>
              <a:gd name="connsiteX36" fmla="*/ 562366 w 809457"/>
              <a:gd name="connsiteY36" fmla="*/ 762889 h 4981044"/>
              <a:gd name="connsiteX37" fmla="*/ 560053 w 809457"/>
              <a:gd name="connsiteY37" fmla="*/ 50425 h 4981044"/>
              <a:gd name="connsiteX38" fmla="*/ 533721 w 809457"/>
              <a:gd name="connsiteY38" fmla="*/ 50425 h 4981044"/>
              <a:gd name="connsiteX39" fmla="*/ 533721 w 809457"/>
              <a:gd name="connsiteY39" fmla="*/ 0 h 4981044"/>
              <a:gd name="connsiteX40" fmla="*/ 731042 w 809457"/>
              <a:gd name="connsiteY40" fmla="*/ 0 h 4981044"/>
              <a:gd name="connsiteX41" fmla="*/ 731042 w 809457"/>
              <a:gd name="connsiteY41" fmla="*/ 50425 h 4981044"/>
              <a:gd name="connsiteX42" fmla="*/ 700856 w 809457"/>
              <a:gd name="connsiteY42" fmla="*/ 50425 h 4981044"/>
              <a:gd name="connsiteX43" fmla="*/ 706839 w 809457"/>
              <a:gd name="connsiteY43" fmla="*/ 767946 h 4981044"/>
              <a:gd name="connsiteX44" fmla="*/ 809457 w 809457"/>
              <a:gd name="connsiteY44"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4267 w 809457"/>
              <a:gd name="connsiteY20" fmla="*/ 3081056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09457 w 809457"/>
              <a:gd name="connsiteY0" fmla="*/ 767946 h 4981044"/>
              <a:gd name="connsiteX1" fmla="*/ 809457 w 809457"/>
              <a:gd name="connsiteY1" fmla="*/ 2466866 h 4981044"/>
              <a:gd name="connsiteX2" fmla="*/ 706839 w 809457"/>
              <a:gd name="connsiteY2" fmla="*/ 2466866 h 4981044"/>
              <a:gd name="connsiteX3" fmla="*/ 706839 w 809457"/>
              <a:gd name="connsiteY3" fmla="*/ 4815708 h 4981044"/>
              <a:gd name="connsiteX4" fmla="*/ 587756 w 809457"/>
              <a:gd name="connsiteY4" fmla="*/ 4963451 h 4981044"/>
              <a:gd name="connsiteX5" fmla="*/ 150658 w 809457"/>
              <a:gd name="connsiteY5" fmla="*/ 4957476 h 4981044"/>
              <a:gd name="connsiteX6" fmla="*/ 83726 w 809457"/>
              <a:gd name="connsiteY6" fmla="*/ 4956960 h 4981044"/>
              <a:gd name="connsiteX7" fmla="*/ 83726 w 809457"/>
              <a:gd name="connsiteY7" fmla="*/ 4981044 h 4981044"/>
              <a:gd name="connsiteX8" fmla="*/ 33301 w 809457"/>
              <a:gd name="connsiteY8" fmla="*/ 4981044 h 4981044"/>
              <a:gd name="connsiteX9" fmla="*/ 33301 w 809457"/>
              <a:gd name="connsiteY9" fmla="*/ 4766062 h 4981044"/>
              <a:gd name="connsiteX10" fmla="*/ 83726 w 809457"/>
              <a:gd name="connsiteY10" fmla="*/ 4770477 h 4981044"/>
              <a:gd name="connsiteX11" fmla="*/ 83726 w 809457"/>
              <a:gd name="connsiteY11" fmla="*/ 4798418 h 4981044"/>
              <a:gd name="connsiteX12" fmla="*/ 274565 w 809457"/>
              <a:gd name="connsiteY12" fmla="*/ 4799395 h 4981044"/>
              <a:gd name="connsiteX13" fmla="*/ 507373 w 809457"/>
              <a:gd name="connsiteY13" fmla="*/ 4796168 h 4981044"/>
              <a:gd name="connsiteX14" fmla="*/ 581414 w 809457"/>
              <a:gd name="connsiteY14" fmla="*/ 4735896 h 4981044"/>
              <a:gd name="connsiteX15" fmla="*/ 587763 w 809457"/>
              <a:gd name="connsiteY15" fmla="*/ 2463112 h 4981044"/>
              <a:gd name="connsiteX16" fmla="*/ 408795 w 809457"/>
              <a:gd name="connsiteY16" fmla="*/ 2464702 h 4981044"/>
              <a:gd name="connsiteX17" fmla="*/ 405616 w 809457"/>
              <a:gd name="connsiteY17" fmla="*/ 2928149 h 4981044"/>
              <a:gd name="connsiteX18" fmla="*/ 330366 w 809457"/>
              <a:gd name="connsiteY18" fmla="*/ 3063417 h 4981044"/>
              <a:gd name="connsiteX19" fmla="*/ 39306 w 809457"/>
              <a:gd name="connsiteY19" fmla="*/ 3079313 h 4981044"/>
              <a:gd name="connsiteX20" fmla="*/ 39538 w 809457"/>
              <a:gd name="connsiteY20" fmla="*/ 3147292 h 4981044"/>
              <a:gd name="connsiteX21" fmla="*/ 5272 w 809457"/>
              <a:gd name="connsiteY21" fmla="*/ 3089886 h 4981044"/>
              <a:gd name="connsiteX22" fmla="*/ 0 w 809457"/>
              <a:gd name="connsiteY22" fmla="*/ 2855846 h 4981044"/>
              <a:gd name="connsiteX23" fmla="*/ 34267 w 809457"/>
              <a:gd name="connsiteY23" fmla="*/ 2820523 h 4981044"/>
              <a:gd name="connsiteX24" fmla="*/ 38881 w 809457"/>
              <a:gd name="connsiteY24" fmla="*/ 2877413 h 4981044"/>
              <a:gd name="connsiteX25" fmla="*/ 293726 w 809457"/>
              <a:gd name="connsiteY25" fmla="*/ 2797923 h 4981044"/>
              <a:gd name="connsiteX26" fmla="*/ 296361 w 809457"/>
              <a:gd name="connsiteY26" fmla="*/ 2466866 h 4981044"/>
              <a:gd name="connsiteX27" fmla="*/ 227946 w 809457"/>
              <a:gd name="connsiteY27" fmla="*/ 2466866 h 4981044"/>
              <a:gd name="connsiteX28" fmla="*/ 221596 w 809457"/>
              <a:gd name="connsiteY28" fmla="*/ 753950 h 4981044"/>
              <a:gd name="connsiteX29" fmla="*/ 284960 w 809457"/>
              <a:gd name="connsiteY29" fmla="*/ 753945 h 4981044"/>
              <a:gd name="connsiteX30" fmla="*/ 284960 w 809457"/>
              <a:gd name="connsiteY30" fmla="*/ 50425 h 4981044"/>
              <a:gd name="connsiteX31" fmla="*/ 255115 w 809457"/>
              <a:gd name="connsiteY31" fmla="*/ 50425 h 4981044"/>
              <a:gd name="connsiteX32" fmla="*/ 255115 w 809457"/>
              <a:gd name="connsiteY32" fmla="*/ 0 h 4981044"/>
              <a:gd name="connsiteX33" fmla="*/ 452436 w 809457"/>
              <a:gd name="connsiteY33" fmla="*/ 0 h 4981044"/>
              <a:gd name="connsiteX34" fmla="*/ 452436 w 809457"/>
              <a:gd name="connsiteY34" fmla="*/ 50425 h 4981044"/>
              <a:gd name="connsiteX35" fmla="*/ 421786 w 809457"/>
              <a:gd name="connsiteY35" fmla="*/ 50425 h 4981044"/>
              <a:gd name="connsiteX36" fmla="*/ 421786 w 809457"/>
              <a:gd name="connsiteY36" fmla="*/ 762889 h 4981044"/>
              <a:gd name="connsiteX37" fmla="*/ 562366 w 809457"/>
              <a:gd name="connsiteY37" fmla="*/ 762889 h 4981044"/>
              <a:gd name="connsiteX38" fmla="*/ 560053 w 809457"/>
              <a:gd name="connsiteY38" fmla="*/ 50425 h 4981044"/>
              <a:gd name="connsiteX39" fmla="*/ 533721 w 809457"/>
              <a:gd name="connsiteY39" fmla="*/ 50425 h 4981044"/>
              <a:gd name="connsiteX40" fmla="*/ 533721 w 809457"/>
              <a:gd name="connsiteY40" fmla="*/ 0 h 4981044"/>
              <a:gd name="connsiteX41" fmla="*/ 731042 w 809457"/>
              <a:gd name="connsiteY41" fmla="*/ 0 h 4981044"/>
              <a:gd name="connsiteX42" fmla="*/ 731042 w 809457"/>
              <a:gd name="connsiteY42" fmla="*/ 50425 h 4981044"/>
              <a:gd name="connsiteX43" fmla="*/ 700856 w 809457"/>
              <a:gd name="connsiteY43" fmla="*/ 50425 h 4981044"/>
              <a:gd name="connsiteX44" fmla="*/ 706839 w 809457"/>
              <a:gd name="connsiteY44" fmla="*/ 767946 h 4981044"/>
              <a:gd name="connsiteX45" fmla="*/ 809457 w 809457"/>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1 w 811900"/>
              <a:gd name="connsiteY20" fmla="*/ 3147292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6710 w 811900"/>
              <a:gd name="connsiteY23" fmla="*/ 2820523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3 w 811900"/>
              <a:gd name="connsiteY22" fmla="*/ 2855846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41324 w 811900"/>
              <a:gd name="connsiteY24" fmla="*/ 2877413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39346 w 811900"/>
              <a:gd name="connsiteY23" fmla="*/ 2838191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1900 w 811900"/>
              <a:gd name="connsiteY0" fmla="*/ 767946 h 4981044"/>
              <a:gd name="connsiteX1" fmla="*/ 811900 w 811900"/>
              <a:gd name="connsiteY1" fmla="*/ 2466866 h 4981044"/>
              <a:gd name="connsiteX2" fmla="*/ 709282 w 811900"/>
              <a:gd name="connsiteY2" fmla="*/ 2466866 h 4981044"/>
              <a:gd name="connsiteX3" fmla="*/ 709282 w 811900"/>
              <a:gd name="connsiteY3" fmla="*/ 4815708 h 4981044"/>
              <a:gd name="connsiteX4" fmla="*/ 590199 w 811900"/>
              <a:gd name="connsiteY4" fmla="*/ 4963451 h 4981044"/>
              <a:gd name="connsiteX5" fmla="*/ 153101 w 811900"/>
              <a:gd name="connsiteY5" fmla="*/ 4957476 h 4981044"/>
              <a:gd name="connsiteX6" fmla="*/ 86169 w 811900"/>
              <a:gd name="connsiteY6" fmla="*/ 4956960 h 4981044"/>
              <a:gd name="connsiteX7" fmla="*/ 86169 w 811900"/>
              <a:gd name="connsiteY7" fmla="*/ 4981044 h 4981044"/>
              <a:gd name="connsiteX8" fmla="*/ 35744 w 811900"/>
              <a:gd name="connsiteY8" fmla="*/ 4981044 h 4981044"/>
              <a:gd name="connsiteX9" fmla="*/ 35744 w 811900"/>
              <a:gd name="connsiteY9" fmla="*/ 4766062 h 4981044"/>
              <a:gd name="connsiteX10" fmla="*/ 86169 w 811900"/>
              <a:gd name="connsiteY10" fmla="*/ 4770477 h 4981044"/>
              <a:gd name="connsiteX11" fmla="*/ 86169 w 811900"/>
              <a:gd name="connsiteY11" fmla="*/ 4798418 h 4981044"/>
              <a:gd name="connsiteX12" fmla="*/ 277008 w 811900"/>
              <a:gd name="connsiteY12" fmla="*/ 4799395 h 4981044"/>
              <a:gd name="connsiteX13" fmla="*/ 509816 w 811900"/>
              <a:gd name="connsiteY13" fmla="*/ 4796168 h 4981044"/>
              <a:gd name="connsiteX14" fmla="*/ 583857 w 811900"/>
              <a:gd name="connsiteY14" fmla="*/ 4735896 h 4981044"/>
              <a:gd name="connsiteX15" fmla="*/ 590206 w 811900"/>
              <a:gd name="connsiteY15" fmla="*/ 2463112 h 4981044"/>
              <a:gd name="connsiteX16" fmla="*/ 411238 w 811900"/>
              <a:gd name="connsiteY16" fmla="*/ 2464702 h 4981044"/>
              <a:gd name="connsiteX17" fmla="*/ 408059 w 811900"/>
              <a:gd name="connsiteY17" fmla="*/ 2928149 h 4981044"/>
              <a:gd name="connsiteX18" fmla="*/ 332809 w 811900"/>
              <a:gd name="connsiteY18" fmla="*/ 3063417 h 4981044"/>
              <a:gd name="connsiteX19" fmla="*/ 41749 w 811900"/>
              <a:gd name="connsiteY19" fmla="*/ 3079313 h 4981044"/>
              <a:gd name="connsiteX20" fmla="*/ 41982 w 811900"/>
              <a:gd name="connsiteY20" fmla="*/ 3120800 h 4981044"/>
              <a:gd name="connsiteX21" fmla="*/ 2443 w 811900"/>
              <a:gd name="connsiteY21" fmla="*/ 3125213 h 4981044"/>
              <a:gd name="connsiteX22" fmla="*/ 2444 w 811900"/>
              <a:gd name="connsiteY22" fmla="*/ 2829357 h 4981044"/>
              <a:gd name="connsiteX23" fmla="*/ 78885 w 811900"/>
              <a:gd name="connsiteY23" fmla="*/ 2824947 h 4981044"/>
              <a:gd name="connsiteX24" fmla="*/ 78226 w 811900"/>
              <a:gd name="connsiteY24" fmla="*/ 2873002 h 4981044"/>
              <a:gd name="connsiteX25" fmla="*/ 296169 w 811900"/>
              <a:gd name="connsiteY25" fmla="*/ 2797923 h 4981044"/>
              <a:gd name="connsiteX26" fmla="*/ 298804 w 811900"/>
              <a:gd name="connsiteY26" fmla="*/ 2466866 h 4981044"/>
              <a:gd name="connsiteX27" fmla="*/ 230389 w 811900"/>
              <a:gd name="connsiteY27" fmla="*/ 2466866 h 4981044"/>
              <a:gd name="connsiteX28" fmla="*/ 224039 w 811900"/>
              <a:gd name="connsiteY28" fmla="*/ 753950 h 4981044"/>
              <a:gd name="connsiteX29" fmla="*/ 287403 w 811900"/>
              <a:gd name="connsiteY29" fmla="*/ 753945 h 4981044"/>
              <a:gd name="connsiteX30" fmla="*/ 287403 w 811900"/>
              <a:gd name="connsiteY30" fmla="*/ 50425 h 4981044"/>
              <a:gd name="connsiteX31" fmla="*/ 257558 w 811900"/>
              <a:gd name="connsiteY31" fmla="*/ 50425 h 4981044"/>
              <a:gd name="connsiteX32" fmla="*/ 257558 w 811900"/>
              <a:gd name="connsiteY32" fmla="*/ 0 h 4981044"/>
              <a:gd name="connsiteX33" fmla="*/ 454879 w 811900"/>
              <a:gd name="connsiteY33" fmla="*/ 0 h 4981044"/>
              <a:gd name="connsiteX34" fmla="*/ 454879 w 811900"/>
              <a:gd name="connsiteY34" fmla="*/ 50425 h 4981044"/>
              <a:gd name="connsiteX35" fmla="*/ 424229 w 811900"/>
              <a:gd name="connsiteY35" fmla="*/ 50425 h 4981044"/>
              <a:gd name="connsiteX36" fmla="*/ 424229 w 811900"/>
              <a:gd name="connsiteY36" fmla="*/ 762889 h 4981044"/>
              <a:gd name="connsiteX37" fmla="*/ 564809 w 811900"/>
              <a:gd name="connsiteY37" fmla="*/ 762889 h 4981044"/>
              <a:gd name="connsiteX38" fmla="*/ 562496 w 811900"/>
              <a:gd name="connsiteY38" fmla="*/ 50425 h 4981044"/>
              <a:gd name="connsiteX39" fmla="*/ 536164 w 811900"/>
              <a:gd name="connsiteY39" fmla="*/ 50425 h 4981044"/>
              <a:gd name="connsiteX40" fmla="*/ 536164 w 811900"/>
              <a:gd name="connsiteY40" fmla="*/ 0 h 4981044"/>
              <a:gd name="connsiteX41" fmla="*/ 733485 w 811900"/>
              <a:gd name="connsiteY41" fmla="*/ 0 h 4981044"/>
              <a:gd name="connsiteX42" fmla="*/ 733485 w 811900"/>
              <a:gd name="connsiteY42" fmla="*/ 50425 h 4981044"/>
              <a:gd name="connsiteX43" fmla="*/ 703299 w 811900"/>
              <a:gd name="connsiteY43" fmla="*/ 50425 h 4981044"/>
              <a:gd name="connsiteX44" fmla="*/ 709282 w 811900"/>
              <a:gd name="connsiteY44" fmla="*/ 767946 h 4981044"/>
              <a:gd name="connsiteX45" fmla="*/ 811900 w 811900"/>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39980 w 810131"/>
              <a:gd name="connsiteY19" fmla="*/ 3079313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40213 w 810131"/>
              <a:gd name="connsiteY20" fmla="*/ 3120800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810131 w 810131"/>
              <a:gd name="connsiteY0" fmla="*/ 767946 h 4981044"/>
              <a:gd name="connsiteX1" fmla="*/ 810131 w 810131"/>
              <a:gd name="connsiteY1" fmla="*/ 2466866 h 4981044"/>
              <a:gd name="connsiteX2" fmla="*/ 707513 w 810131"/>
              <a:gd name="connsiteY2" fmla="*/ 2466866 h 4981044"/>
              <a:gd name="connsiteX3" fmla="*/ 707513 w 810131"/>
              <a:gd name="connsiteY3" fmla="*/ 4815708 h 4981044"/>
              <a:gd name="connsiteX4" fmla="*/ 588430 w 810131"/>
              <a:gd name="connsiteY4" fmla="*/ 4963451 h 4981044"/>
              <a:gd name="connsiteX5" fmla="*/ 151332 w 810131"/>
              <a:gd name="connsiteY5" fmla="*/ 4957476 h 4981044"/>
              <a:gd name="connsiteX6" fmla="*/ 84400 w 810131"/>
              <a:gd name="connsiteY6" fmla="*/ 4956960 h 4981044"/>
              <a:gd name="connsiteX7" fmla="*/ 84400 w 810131"/>
              <a:gd name="connsiteY7" fmla="*/ 4981044 h 4981044"/>
              <a:gd name="connsiteX8" fmla="*/ 33975 w 810131"/>
              <a:gd name="connsiteY8" fmla="*/ 4981044 h 4981044"/>
              <a:gd name="connsiteX9" fmla="*/ 33975 w 810131"/>
              <a:gd name="connsiteY9" fmla="*/ 4766062 h 4981044"/>
              <a:gd name="connsiteX10" fmla="*/ 84400 w 810131"/>
              <a:gd name="connsiteY10" fmla="*/ 4770477 h 4981044"/>
              <a:gd name="connsiteX11" fmla="*/ 84400 w 810131"/>
              <a:gd name="connsiteY11" fmla="*/ 4798418 h 4981044"/>
              <a:gd name="connsiteX12" fmla="*/ 275239 w 810131"/>
              <a:gd name="connsiteY12" fmla="*/ 4799395 h 4981044"/>
              <a:gd name="connsiteX13" fmla="*/ 508047 w 810131"/>
              <a:gd name="connsiteY13" fmla="*/ 4796168 h 4981044"/>
              <a:gd name="connsiteX14" fmla="*/ 582088 w 810131"/>
              <a:gd name="connsiteY14" fmla="*/ 4735896 h 4981044"/>
              <a:gd name="connsiteX15" fmla="*/ 588437 w 810131"/>
              <a:gd name="connsiteY15" fmla="*/ 2463112 h 4981044"/>
              <a:gd name="connsiteX16" fmla="*/ 409469 w 810131"/>
              <a:gd name="connsiteY16" fmla="*/ 2464702 h 4981044"/>
              <a:gd name="connsiteX17" fmla="*/ 406290 w 810131"/>
              <a:gd name="connsiteY17" fmla="*/ 2928149 h 4981044"/>
              <a:gd name="connsiteX18" fmla="*/ 331040 w 810131"/>
              <a:gd name="connsiteY18" fmla="*/ 3063417 h 4981044"/>
              <a:gd name="connsiteX19" fmla="*/ 84790 w 810131"/>
              <a:gd name="connsiteY19" fmla="*/ 3066069 h 4981044"/>
              <a:gd name="connsiteX20" fmla="*/ 90295 w 810131"/>
              <a:gd name="connsiteY20" fmla="*/ 3129637 h 4981044"/>
              <a:gd name="connsiteX21" fmla="*/ 674 w 810131"/>
              <a:gd name="connsiteY21" fmla="*/ 3125213 h 4981044"/>
              <a:gd name="connsiteX22" fmla="*/ 27035 w 810131"/>
              <a:gd name="connsiteY22" fmla="*/ 2829362 h 4981044"/>
              <a:gd name="connsiteX23" fmla="*/ 77116 w 810131"/>
              <a:gd name="connsiteY23" fmla="*/ 2824947 h 4981044"/>
              <a:gd name="connsiteX24" fmla="*/ 76457 w 810131"/>
              <a:gd name="connsiteY24" fmla="*/ 2873002 h 4981044"/>
              <a:gd name="connsiteX25" fmla="*/ 294400 w 810131"/>
              <a:gd name="connsiteY25" fmla="*/ 2797923 h 4981044"/>
              <a:gd name="connsiteX26" fmla="*/ 297035 w 810131"/>
              <a:gd name="connsiteY26" fmla="*/ 2466866 h 4981044"/>
              <a:gd name="connsiteX27" fmla="*/ 228620 w 810131"/>
              <a:gd name="connsiteY27" fmla="*/ 2466866 h 4981044"/>
              <a:gd name="connsiteX28" fmla="*/ 222270 w 810131"/>
              <a:gd name="connsiteY28" fmla="*/ 753950 h 4981044"/>
              <a:gd name="connsiteX29" fmla="*/ 285634 w 810131"/>
              <a:gd name="connsiteY29" fmla="*/ 753945 h 4981044"/>
              <a:gd name="connsiteX30" fmla="*/ 285634 w 810131"/>
              <a:gd name="connsiteY30" fmla="*/ 50425 h 4981044"/>
              <a:gd name="connsiteX31" fmla="*/ 255789 w 810131"/>
              <a:gd name="connsiteY31" fmla="*/ 50425 h 4981044"/>
              <a:gd name="connsiteX32" fmla="*/ 255789 w 810131"/>
              <a:gd name="connsiteY32" fmla="*/ 0 h 4981044"/>
              <a:gd name="connsiteX33" fmla="*/ 453110 w 810131"/>
              <a:gd name="connsiteY33" fmla="*/ 0 h 4981044"/>
              <a:gd name="connsiteX34" fmla="*/ 453110 w 810131"/>
              <a:gd name="connsiteY34" fmla="*/ 50425 h 4981044"/>
              <a:gd name="connsiteX35" fmla="*/ 422460 w 810131"/>
              <a:gd name="connsiteY35" fmla="*/ 50425 h 4981044"/>
              <a:gd name="connsiteX36" fmla="*/ 422460 w 810131"/>
              <a:gd name="connsiteY36" fmla="*/ 762889 h 4981044"/>
              <a:gd name="connsiteX37" fmla="*/ 563040 w 810131"/>
              <a:gd name="connsiteY37" fmla="*/ 762889 h 4981044"/>
              <a:gd name="connsiteX38" fmla="*/ 560727 w 810131"/>
              <a:gd name="connsiteY38" fmla="*/ 50425 h 4981044"/>
              <a:gd name="connsiteX39" fmla="*/ 534395 w 810131"/>
              <a:gd name="connsiteY39" fmla="*/ 50425 h 4981044"/>
              <a:gd name="connsiteX40" fmla="*/ 534395 w 810131"/>
              <a:gd name="connsiteY40" fmla="*/ 0 h 4981044"/>
              <a:gd name="connsiteX41" fmla="*/ 731716 w 810131"/>
              <a:gd name="connsiteY41" fmla="*/ 0 h 4981044"/>
              <a:gd name="connsiteX42" fmla="*/ 731716 w 810131"/>
              <a:gd name="connsiteY42" fmla="*/ 50425 h 4981044"/>
              <a:gd name="connsiteX43" fmla="*/ 701530 w 810131"/>
              <a:gd name="connsiteY43" fmla="*/ 50425 h 4981044"/>
              <a:gd name="connsiteX44" fmla="*/ 707513 w 810131"/>
              <a:gd name="connsiteY44" fmla="*/ 767946 h 4981044"/>
              <a:gd name="connsiteX45" fmla="*/ 810131 w 810131"/>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63260 w 783096"/>
              <a:gd name="connsiteY20" fmla="*/ 3129637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096 w 783096"/>
              <a:gd name="connsiteY0" fmla="*/ 767946 h 4981044"/>
              <a:gd name="connsiteX1" fmla="*/ 783096 w 783096"/>
              <a:gd name="connsiteY1" fmla="*/ 2466866 h 4981044"/>
              <a:gd name="connsiteX2" fmla="*/ 680478 w 783096"/>
              <a:gd name="connsiteY2" fmla="*/ 2466866 h 4981044"/>
              <a:gd name="connsiteX3" fmla="*/ 680478 w 783096"/>
              <a:gd name="connsiteY3" fmla="*/ 4815708 h 4981044"/>
              <a:gd name="connsiteX4" fmla="*/ 561395 w 783096"/>
              <a:gd name="connsiteY4" fmla="*/ 4963451 h 4981044"/>
              <a:gd name="connsiteX5" fmla="*/ 124297 w 783096"/>
              <a:gd name="connsiteY5" fmla="*/ 4957476 h 4981044"/>
              <a:gd name="connsiteX6" fmla="*/ 57365 w 783096"/>
              <a:gd name="connsiteY6" fmla="*/ 4956960 h 4981044"/>
              <a:gd name="connsiteX7" fmla="*/ 57365 w 783096"/>
              <a:gd name="connsiteY7" fmla="*/ 4981044 h 4981044"/>
              <a:gd name="connsiteX8" fmla="*/ 6940 w 783096"/>
              <a:gd name="connsiteY8" fmla="*/ 4981044 h 4981044"/>
              <a:gd name="connsiteX9" fmla="*/ 6940 w 783096"/>
              <a:gd name="connsiteY9" fmla="*/ 4766062 h 4981044"/>
              <a:gd name="connsiteX10" fmla="*/ 57365 w 783096"/>
              <a:gd name="connsiteY10" fmla="*/ 4770477 h 4981044"/>
              <a:gd name="connsiteX11" fmla="*/ 57365 w 783096"/>
              <a:gd name="connsiteY11" fmla="*/ 4798418 h 4981044"/>
              <a:gd name="connsiteX12" fmla="*/ 248204 w 783096"/>
              <a:gd name="connsiteY12" fmla="*/ 4799395 h 4981044"/>
              <a:gd name="connsiteX13" fmla="*/ 481012 w 783096"/>
              <a:gd name="connsiteY13" fmla="*/ 4796168 h 4981044"/>
              <a:gd name="connsiteX14" fmla="*/ 555053 w 783096"/>
              <a:gd name="connsiteY14" fmla="*/ 4735896 h 4981044"/>
              <a:gd name="connsiteX15" fmla="*/ 561402 w 783096"/>
              <a:gd name="connsiteY15" fmla="*/ 2463112 h 4981044"/>
              <a:gd name="connsiteX16" fmla="*/ 382434 w 783096"/>
              <a:gd name="connsiteY16" fmla="*/ 2464702 h 4981044"/>
              <a:gd name="connsiteX17" fmla="*/ 379255 w 783096"/>
              <a:gd name="connsiteY17" fmla="*/ 2928149 h 4981044"/>
              <a:gd name="connsiteX18" fmla="*/ 304005 w 783096"/>
              <a:gd name="connsiteY18" fmla="*/ 3063417 h 4981044"/>
              <a:gd name="connsiteX19" fmla="*/ 57755 w 783096"/>
              <a:gd name="connsiteY19" fmla="*/ 3066069 h 4981044"/>
              <a:gd name="connsiteX20" fmla="*/ 55352 w 783096"/>
              <a:gd name="connsiteY20" fmla="*/ 3107559 h 4981044"/>
              <a:gd name="connsiteX21" fmla="*/ 5270 w 783096"/>
              <a:gd name="connsiteY21" fmla="*/ 3120800 h 4981044"/>
              <a:gd name="connsiteX22" fmla="*/ 0 w 783096"/>
              <a:gd name="connsiteY22" fmla="*/ 2829362 h 4981044"/>
              <a:gd name="connsiteX23" fmla="*/ 50081 w 783096"/>
              <a:gd name="connsiteY23" fmla="*/ 2824947 h 4981044"/>
              <a:gd name="connsiteX24" fmla="*/ 49422 w 783096"/>
              <a:gd name="connsiteY24" fmla="*/ 2873002 h 4981044"/>
              <a:gd name="connsiteX25" fmla="*/ 267365 w 783096"/>
              <a:gd name="connsiteY25" fmla="*/ 2797923 h 4981044"/>
              <a:gd name="connsiteX26" fmla="*/ 270000 w 783096"/>
              <a:gd name="connsiteY26" fmla="*/ 2466866 h 4981044"/>
              <a:gd name="connsiteX27" fmla="*/ 201585 w 783096"/>
              <a:gd name="connsiteY27" fmla="*/ 2466866 h 4981044"/>
              <a:gd name="connsiteX28" fmla="*/ 195235 w 783096"/>
              <a:gd name="connsiteY28" fmla="*/ 753950 h 4981044"/>
              <a:gd name="connsiteX29" fmla="*/ 258599 w 783096"/>
              <a:gd name="connsiteY29" fmla="*/ 753945 h 4981044"/>
              <a:gd name="connsiteX30" fmla="*/ 258599 w 783096"/>
              <a:gd name="connsiteY30" fmla="*/ 50425 h 4981044"/>
              <a:gd name="connsiteX31" fmla="*/ 228754 w 783096"/>
              <a:gd name="connsiteY31" fmla="*/ 50425 h 4981044"/>
              <a:gd name="connsiteX32" fmla="*/ 228754 w 783096"/>
              <a:gd name="connsiteY32" fmla="*/ 0 h 4981044"/>
              <a:gd name="connsiteX33" fmla="*/ 426075 w 783096"/>
              <a:gd name="connsiteY33" fmla="*/ 0 h 4981044"/>
              <a:gd name="connsiteX34" fmla="*/ 426075 w 783096"/>
              <a:gd name="connsiteY34" fmla="*/ 50425 h 4981044"/>
              <a:gd name="connsiteX35" fmla="*/ 395425 w 783096"/>
              <a:gd name="connsiteY35" fmla="*/ 50425 h 4981044"/>
              <a:gd name="connsiteX36" fmla="*/ 395425 w 783096"/>
              <a:gd name="connsiteY36" fmla="*/ 762889 h 4981044"/>
              <a:gd name="connsiteX37" fmla="*/ 536005 w 783096"/>
              <a:gd name="connsiteY37" fmla="*/ 762889 h 4981044"/>
              <a:gd name="connsiteX38" fmla="*/ 533692 w 783096"/>
              <a:gd name="connsiteY38" fmla="*/ 50425 h 4981044"/>
              <a:gd name="connsiteX39" fmla="*/ 507360 w 783096"/>
              <a:gd name="connsiteY39" fmla="*/ 50425 h 4981044"/>
              <a:gd name="connsiteX40" fmla="*/ 507360 w 783096"/>
              <a:gd name="connsiteY40" fmla="*/ 0 h 4981044"/>
              <a:gd name="connsiteX41" fmla="*/ 704681 w 783096"/>
              <a:gd name="connsiteY41" fmla="*/ 0 h 4981044"/>
              <a:gd name="connsiteX42" fmla="*/ 704681 w 783096"/>
              <a:gd name="connsiteY42" fmla="*/ 50425 h 4981044"/>
              <a:gd name="connsiteX43" fmla="*/ 674495 w 783096"/>
              <a:gd name="connsiteY43" fmla="*/ 50425 h 4981044"/>
              <a:gd name="connsiteX44" fmla="*/ 680478 w 783096"/>
              <a:gd name="connsiteY44" fmla="*/ 767946 h 4981044"/>
              <a:gd name="connsiteX45" fmla="*/ 783096 w 783096"/>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63417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3 w 783604"/>
              <a:gd name="connsiteY19" fmla="*/ 3066069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79763 w 783604"/>
              <a:gd name="connsiteY17" fmla="*/ 29281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304513 w 783604"/>
              <a:gd name="connsiteY18" fmla="*/ 3045758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4 w 783604"/>
              <a:gd name="connsiteY19" fmla="*/ 3052827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2988356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5 w 783604"/>
              <a:gd name="connsiteY19" fmla="*/ 3004258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0 w 783604"/>
              <a:gd name="connsiteY20" fmla="*/ 3107559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103136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 name="connsiteX0" fmla="*/ 783604 w 783604"/>
              <a:gd name="connsiteY0" fmla="*/ 767946 h 4981044"/>
              <a:gd name="connsiteX1" fmla="*/ 783604 w 783604"/>
              <a:gd name="connsiteY1" fmla="*/ 2466866 h 4981044"/>
              <a:gd name="connsiteX2" fmla="*/ 680986 w 783604"/>
              <a:gd name="connsiteY2" fmla="*/ 2466866 h 4981044"/>
              <a:gd name="connsiteX3" fmla="*/ 680986 w 783604"/>
              <a:gd name="connsiteY3" fmla="*/ 4815708 h 4981044"/>
              <a:gd name="connsiteX4" fmla="*/ 561903 w 783604"/>
              <a:gd name="connsiteY4" fmla="*/ 4963451 h 4981044"/>
              <a:gd name="connsiteX5" fmla="*/ 124805 w 783604"/>
              <a:gd name="connsiteY5" fmla="*/ 4957476 h 4981044"/>
              <a:gd name="connsiteX6" fmla="*/ 57873 w 783604"/>
              <a:gd name="connsiteY6" fmla="*/ 4956960 h 4981044"/>
              <a:gd name="connsiteX7" fmla="*/ 57873 w 783604"/>
              <a:gd name="connsiteY7" fmla="*/ 4981044 h 4981044"/>
              <a:gd name="connsiteX8" fmla="*/ 7448 w 783604"/>
              <a:gd name="connsiteY8" fmla="*/ 4981044 h 4981044"/>
              <a:gd name="connsiteX9" fmla="*/ 7448 w 783604"/>
              <a:gd name="connsiteY9" fmla="*/ 4766062 h 4981044"/>
              <a:gd name="connsiteX10" fmla="*/ 57873 w 783604"/>
              <a:gd name="connsiteY10" fmla="*/ 4770477 h 4981044"/>
              <a:gd name="connsiteX11" fmla="*/ 57873 w 783604"/>
              <a:gd name="connsiteY11" fmla="*/ 4798418 h 4981044"/>
              <a:gd name="connsiteX12" fmla="*/ 248712 w 783604"/>
              <a:gd name="connsiteY12" fmla="*/ 4799395 h 4981044"/>
              <a:gd name="connsiteX13" fmla="*/ 481520 w 783604"/>
              <a:gd name="connsiteY13" fmla="*/ 4796168 h 4981044"/>
              <a:gd name="connsiteX14" fmla="*/ 555561 w 783604"/>
              <a:gd name="connsiteY14" fmla="*/ 4735896 h 4981044"/>
              <a:gd name="connsiteX15" fmla="*/ 561910 w 783604"/>
              <a:gd name="connsiteY15" fmla="*/ 2463112 h 4981044"/>
              <a:gd name="connsiteX16" fmla="*/ 382942 w 783604"/>
              <a:gd name="connsiteY16" fmla="*/ 2464702 h 4981044"/>
              <a:gd name="connsiteX17" fmla="*/ 382399 w 783604"/>
              <a:gd name="connsiteY17" fmla="*/ 2870749 h 4981044"/>
              <a:gd name="connsiteX18" fmla="*/ 299241 w 783604"/>
              <a:gd name="connsiteY18" fmla="*/ 3023687 h 4981044"/>
              <a:gd name="connsiteX19" fmla="*/ 58266 w 783604"/>
              <a:gd name="connsiteY19" fmla="*/ 3026342 h 4981044"/>
              <a:gd name="connsiteX20" fmla="*/ 55861 w 783604"/>
              <a:gd name="connsiteY20" fmla="*/ 3076652 h 4981044"/>
              <a:gd name="connsiteX21" fmla="*/ 506 w 783604"/>
              <a:gd name="connsiteY21" fmla="*/ 3072230 h 4981044"/>
              <a:gd name="connsiteX22" fmla="*/ 508 w 783604"/>
              <a:gd name="connsiteY22" fmla="*/ 2829362 h 4981044"/>
              <a:gd name="connsiteX23" fmla="*/ 50589 w 783604"/>
              <a:gd name="connsiteY23" fmla="*/ 2824947 h 4981044"/>
              <a:gd name="connsiteX24" fmla="*/ 49930 w 783604"/>
              <a:gd name="connsiteY24" fmla="*/ 2873002 h 4981044"/>
              <a:gd name="connsiteX25" fmla="*/ 267873 w 783604"/>
              <a:gd name="connsiteY25" fmla="*/ 2797923 h 4981044"/>
              <a:gd name="connsiteX26" fmla="*/ 270508 w 783604"/>
              <a:gd name="connsiteY26" fmla="*/ 2466866 h 4981044"/>
              <a:gd name="connsiteX27" fmla="*/ 202093 w 783604"/>
              <a:gd name="connsiteY27" fmla="*/ 2466866 h 4981044"/>
              <a:gd name="connsiteX28" fmla="*/ 195743 w 783604"/>
              <a:gd name="connsiteY28" fmla="*/ 753950 h 4981044"/>
              <a:gd name="connsiteX29" fmla="*/ 259107 w 783604"/>
              <a:gd name="connsiteY29" fmla="*/ 753945 h 4981044"/>
              <a:gd name="connsiteX30" fmla="*/ 259107 w 783604"/>
              <a:gd name="connsiteY30" fmla="*/ 50425 h 4981044"/>
              <a:gd name="connsiteX31" fmla="*/ 229262 w 783604"/>
              <a:gd name="connsiteY31" fmla="*/ 50425 h 4981044"/>
              <a:gd name="connsiteX32" fmla="*/ 229262 w 783604"/>
              <a:gd name="connsiteY32" fmla="*/ 0 h 4981044"/>
              <a:gd name="connsiteX33" fmla="*/ 426583 w 783604"/>
              <a:gd name="connsiteY33" fmla="*/ 0 h 4981044"/>
              <a:gd name="connsiteX34" fmla="*/ 426583 w 783604"/>
              <a:gd name="connsiteY34" fmla="*/ 50425 h 4981044"/>
              <a:gd name="connsiteX35" fmla="*/ 395933 w 783604"/>
              <a:gd name="connsiteY35" fmla="*/ 50425 h 4981044"/>
              <a:gd name="connsiteX36" fmla="*/ 395933 w 783604"/>
              <a:gd name="connsiteY36" fmla="*/ 762889 h 4981044"/>
              <a:gd name="connsiteX37" fmla="*/ 536513 w 783604"/>
              <a:gd name="connsiteY37" fmla="*/ 762889 h 4981044"/>
              <a:gd name="connsiteX38" fmla="*/ 534200 w 783604"/>
              <a:gd name="connsiteY38" fmla="*/ 50425 h 4981044"/>
              <a:gd name="connsiteX39" fmla="*/ 507868 w 783604"/>
              <a:gd name="connsiteY39" fmla="*/ 50425 h 4981044"/>
              <a:gd name="connsiteX40" fmla="*/ 507868 w 783604"/>
              <a:gd name="connsiteY40" fmla="*/ 0 h 4981044"/>
              <a:gd name="connsiteX41" fmla="*/ 705189 w 783604"/>
              <a:gd name="connsiteY41" fmla="*/ 0 h 4981044"/>
              <a:gd name="connsiteX42" fmla="*/ 705189 w 783604"/>
              <a:gd name="connsiteY42" fmla="*/ 50425 h 4981044"/>
              <a:gd name="connsiteX43" fmla="*/ 675003 w 783604"/>
              <a:gd name="connsiteY43" fmla="*/ 50425 h 4981044"/>
              <a:gd name="connsiteX44" fmla="*/ 680986 w 783604"/>
              <a:gd name="connsiteY44" fmla="*/ 767946 h 4981044"/>
              <a:gd name="connsiteX45" fmla="*/ 783604 w 783604"/>
              <a:gd name="connsiteY45" fmla="*/ 767946 h 498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83604" h="4981044">
                <a:moveTo>
                  <a:pt x="783604" y="767946"/>
                </a:moveTo>
                <a:lnTo>
                  <a:pt x="783604" y="2466866"/>
                </a:lnTo>
                <a:lnTo>
                  <a:pt x="680986" y="2466866"/>
                </a:lnTo>
                <a:lnTo>
                  <a:pt x="680986" y="4815708"/>
                </a:lnTo>
                <a:cubicBezTo>
                  <a:pt x="673923" y="4935865"/>
                  <a:pt x="631394" y="4962055"/>
                  <a:pt x="561903" y="4963451"/>
                </a:cubicBezTo>
                <a:lnTo>
                  <a:pt x="124805" y="4957476"/>
                </a:lnTo>
                <a:lnTo>
                  <a:pt x="57873" y="4956960"/>
                </a:lnTo>
                <a:lnTo>
                  <a:pt x="57873" y="4981044"/>
                </a:lnTo>
                <a:lnTo>
                  <a:pt x="7448" y="4981044"/>
                </a:lnTo>
                <a:lnTo>
                  <a:pt x="7448" y="4766062"/>
                </a:lnTo>
                <a:lnTo>
                  <a:pt x="57873" y="4770477"/>
                </a:lnTo>
                <a:lnTo>
                  <a:pt x="57873" y="4798418"/>
                </a:lnTo>
                <a:lnTo>
                  <a:pt x="248712" y="4799395"/>
                </a:lnTo>
                <a:lnTo>
                  <a:pt x="481520" y="4796168"/>
                </a:lnTo>
                <a:cubicBezTo>
                  <a:pt x="534776" y="4794004"/>
                  <a:pt x="549930" y="4790450"/>
                  <a:pt x="555561" y="4735896"/>
                </a:cubicBezTo>
                <a:cubicBezTo>
                  <a:pt x="557677" y="3978301"/>
                  <a:pt x="559794" y="3220707"/>
                  <a:pt x="561910" y="2463112"/>
                </a:cubicBezTo>
                <a:cubicBezTo>
                  <a:pt x="502784" y="2465228"/>
                  <a:pt x="408541" y="2466450"/>
                  <a:pt x="382942" y="2464702"/>
                </a:cubicBezTo>
                <a:cubicBezTo>
                  <a:pt x="381161" y="2477247"/>
                  <a:pt x="382399" y="2667869"/>
                  <a:pt x="382399" y="2870749"/>
                </a:cubicBezTo>
                <a:cubicBezTo>
                  <a:pt x="354098" y="2968568"/>
                  <a:pt x="350921" y="2967345"/>
                  <a:pt x="299241" y="3023687"/>
                </a:cubicBezTo>
                <a:lnTo>
                  <a:pt x="58266" y="3026342"/>
                </a:lnTo>
                <a:cubicBezTo>
                  <a:pt x="58343" y="3049002"/>
                  <a:pt x="55784" y="3053992"/>
                  <a:pt x="55861" y="3076652"/>
                </a:cubicBezTo>
                <a:lnTo>
                  <a:pt x="506" y="3072230"/>
                </a:lnTo>
                <a:cubicBezTo>
                  <a:pt x="-1251" y="2975084"/>
                  <a:pt x="2265" y="2926508"/>
                  <a:pt x="508" y="2829362"/>
                </a:cubicBezTo>
                <a:lnTo>
                  <a:pt x="50589" y="2824947"/>
                </a:lnTo>
                <a:cubicBezTo>
                  <a:pt x="51248" y="2838021"/>
                  <a:pt x="49271" y="2859928"/>
                  <a:pt x="49930" y="2873002"/>
                </a:cubicBezTo>
                <a:cubicBezTo>
                  <a:pt x="187666" y="2857759"/>
                  <a:pt x="233454" y="2894317"/>
                  <a:pt x="267873" y="2797923"/>
                </a:cubicBezTo>
                <a:cubicBezTo>
                  <a:pt x="268751" y="2687571"/>
                  <a:pt x="269630" y="2577218"/>
                  <a:pt x="270508" y="2466866"/>
                </a:cubicBezTo>
                <a:lnTo>
                  <a:pt x="202093" y="2466866"/>
                </a:lnTo>
                <a:cubicBezTo>
                  <a:pt x="199976" y="1895894"/>
                  <a:pt x="197860" y="1324922"/>
                  <a:pt x="195743" y="753950"/>
                </a:cubicBezTo>
                <a:lnTo>
                  <a:pt x="259107" y="753945"/>
                </a:lnTo>
                <a:lnTo>
                  <a:pt x="259107" y="50425"/>
                </a:lnTo>
                <a:lnTo>
                  <a:pt x="229262" y="50425"/>
                </a:lnTo>
                <a:lnTo>
                  <a:pt x="229262" y="0"/>
                </a:lnTo>
                <a:lnTo>
                  <a:pt x="426583" y="0"/>
                </a:lnTo>
                <a:lnTo>
                  <a:pt x="426583" y="50425"/>
                </a:lnTo>
                <a:lnTo>
                  <a:pt x="395933" y="50425"/>
                </a:lnTo>
                <a:lnTo>
                  <a:pt x="395933" y="762889"/>
                </a:lnTo>
                <a:lnTo>
                  <a:pt x="536513" y="762889"/>
                </a:lnTo>
                <a:lnTo>
                  <a:pt x="534200" y="50425"/>
                </a:lnTo>
                <a:lnTo>
                  <a:pt x="507868" y="50425"/>
                </a:lnTo>
                <a:lnTo>
                  <a:pt x="507868" y="0"/>
                </a:lnTo>
                <a:lnTo>
                  <a:pt x="705189" y="0"/>
                </a:lnTo>
                <a:lnTo>
                  <a:pt x="705189" y="50425"/>
                </a:lnTo>
                <a:lnTo>
                  <a:pt x="675003" y="50425"/>
                </a:lnTo>
                <a:cubicBezTo>
                  <a:pt x="676997" y="289599"/>
                  <a:pt x="678992" y="528772"/>
                  <a:pt x="680986" y="767946"/>
                </a:cubicBezTo>
                <a:lnTo>
                  <a:pt x="783604" y="767946"/>
                </a:lnTo>
                <a:close/>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988" tIns="41994" rIns="83988" bIns="41994"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cxnSp>
        <p:nvCxnSpPr>
          <p:cNvPr id="247" name="직선 연결선 246"/>
          <p:cNvCxnSpPr/>
          <p:nvPr/>
        </p:nvCxnSpPr>
        <p:spPr>
          <a:xfrm>
            <a:off x="3284961" y="944724"/>
            <a:ext cx="0" cy="264132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8" name="직선 연결선 247"/>
          <p:cNvCxnSpPr/>
          <p:nvPr/>
        </p:nvCxnSpPr>
        <p:spPr>
          <a:xfrm>
            <a:off x="6631865" y="952229"/>
            <a:ext cx="0" cy="25529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50" name="Text Box 5"/>
          <p:cNvSpPr txBox="1">
            <a:spLocks noChangeArrowheads="1"/>
          </p:cNvSpPr>
          <p:nvPr>
            <p:custDataLst>
              <p:tags r:id="rId7"/>
            </p:custDataLst>
          </p:nvPr>
        </p:nvSpPr>
        <p:spPr bwMode="auto">
          <a:xfrm>
            <a:off x="4510693" y="5576100"/>
            <a:ext cx="570740" cy="278538"/>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1100" b="1" spc="-80">
                <a:solidFill>
                  <a:schemeClr val="tx1">
                    <a:lumMod val="65000"/>
                    <a:lumOff val="35000"/>
                  </a:schemeClr>
                </a:solidFill>
                <a:latin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Night</a:t>
            </a:r>
          </a:p>
        </p:txBody>
      </p:sp>
    </p:spTree>
    <p:extLst>
      <p:ext uri="{BB962C8B-B14F-4D97-AF65-F5344CB8AC3E}">
        <p14:creationId xmlns:p14="http://schemas.microsoft.com/office/powerpoint/2010/main" val="3209689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ltLang="ko-KR" dirty="0"/>
              <a:t>Intro</a:t>
            </a:r>
            <a:endParaRPr lang="ko-KR" altLang="en-US" dirty="0"/>
          </a:p>
        </p:txBody>
      </p:sp>
      <p:sp>
        <p:nvSpPr>
          <p:cNvPr id="3" name="Text Placeholder 2"/>
          <p:cNvSpPr>
            <a:spLocks noGrp="1"/>
          </p:cNvSpPr>
          <p:nvPr>
            <p:ph type="body" sz="quarter" idx="13"/>
          </p:nvPr>
        </p:nvSpPr>
        <p:spPr>
          <a:xfrm>
            <a:off x="4868634" y="4066090"/>
            <a:ext cx="4464050" cy="2708434"/>
          </a:xfrm>
        </p:spPr>
        <p:txBody>
          <a:bodyPr/>
          <a:lstStyle/>
          <a:p>
            <a:r>
              <a:rPr lang="en-US" altLang="ko-KR" dirty="0"/>
              <a:t>Why do I need to ventilate my home?</a:t>
            </a:r>
          </a:p>
          <a:p>
            <a:r>
              <a:rPr lang="en-US" altLang="ko-KR" dirty="0"/>
              <a:t>Why use an ERV?</a:t>
            </a:r>
          </a:p>
          <a:p>
            <a:r>
              <a:rPr lang="en-US" altLang="ko-KR" dirty="0"/>
              <a:t>Why </a:t>
            </a:r>
            <a:r>
              <a:rPr lang="ko-KR" altLang="en-US" dirty="0"/>
              <a:t> </a:t>
            </a:r>
            <a:r>
              <a:rPr lang="en-US" altLang="ko-KR" dirty="0"/>
              <a:t>LG ERV?</a:t>
            </a:r>
          </a:p>
          <a:p>
            <a:r>
              <a:rPr lang="en-US" altLang="ko-KR" dirty="0"/>
              <a:t>LG ERV lineup and features</a:t>
            </a:r>
          </a:p>
          <a:p>
            <a:r>
              <a:rPr lang="en-US" altLang="ko-KR" dirty="0"/>
              <a:t>How to control LG ERV</a:t>
            </a:r>
          </a:p>
          <a:p>
            <a:r>
              <a:rPr lang="en-US" altLang="ko-KR" dirty="0"/>
              <a:t>How to size an ERV</a:t>
            </a:r>
          </a:p>
          <a:p>
            <a:r>
              <a:rPr lang="en-US" altLang="ko-KR" dirty="0"/>
              <a:t>Resources</a:t>
            </a:r>
            <a:endParaRPr lang="ko-KR" altLang="en-US" dirty="0"/>
          </a:p>
        </p:txBody>
      </p:sp>
      <p:pic>
        <p:nvPicPr>
          <p:cNvPr id="4" name="Picture 3">
            <a:extLst>
              <a:ext uri="{FF2B5EF4-FFF2-40B4-BE49-F238E27FC236}">
                <a16:creationId xmlns:a16="http://schemas.microsoft.com/office/drawing/2014/main" id="{EEB5118E-D53B-7C9F-B96A-7B01E5F0D1A5}"/>
              </a:ext>
            </a:extLst>
          </p:cNvPr>
          <p:cNvPicPr>
            <a:picLocks noChangeAspect="1"/>
          </p:cNvPicPr>
          <p:nvPr/>
        </p:nvPicPr>
        <p:blipFill>
          <a:blip r:embed="rId3"/>
          <a:stretch>
            <a:fillRect/>
          </a:stretch>
        </p:blipFill>
        <p:spPr>
          <a:xfrm>
            <a:off x="454802" y="2970899"/>
            <a:ext cx="3846024" cy="2527733"/>
          </a:xfrm>
          <a:prstGeom prst="rect">
            <a:avLst/>
          </a:prstGeom>
        </p:spPr>
      </p:pic>
    </p:spTree>
    <p:extLst>
      <p:ext uri="{BB962C8B-B14F-4D97-AF65-F5344CB8AC3E}">
        <p14:creationId xmlns:p14="http://schemas.microsoft.com/office/powerpoint/2010/main" val="29141273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텍스트 개체 틀 1"/>
          <p:cNvSpPr>
            <a:spLocks noGrp="1"/>
          </p:cNvSpPr>
          <p:nvPr>
            <p:ph type="body" sz="quarter" idx="19"/>
          </p:nvPr>
        </p:nvSpPr>
        <p:spPr>
          <a:xfrm>
            <a:off x="276743" y="164293"/>
            <a:ext cx="7410990" cy="369332"/>
          </a:xfrm>
        </p:spPr>
        <p:txBody>
          <a:bodyPr/>
          <a:lstStyle/>
          <a:p>
            <a:r>
              <a:rPr lang="en-US" altLang="ko-KR" dirty="0"/>
              <a:t>CO</a:t>
            </a:r>
            <a:r>
              <a:rPr lang="en-US" altLang="ko-KR" baseline="-25000" dirty="0"/>
              <a:t>2</a:t>
            </a:r>
            <a:r>
              <a:rPr lang="en-US" altLang="ko-KR" dirty="0"/>
              <a:t> Auto Operation - </a:t>
            </a:r>
            <a:r>
              <a:rPr lang="en-US" altLang="ko-KR" sz="1600" dirty="0">
                <a:solidFill>
                  <a:prstClr val="black"/>
                </a:solidFill>
              </a:rPr>
              <a:t>Energy Saving Technology</a:t>
            </a:r>
            <a:endParaRPr lang="en-US" altLang="ko-KR" dirty="0"/>
          </a:p>
        </p:txBody>
      </p:sp>
      <p:sp>
        <p:nvSpPr>
          <p:cNvPr id="78" name="텍스트 개체 틀 5"/>
          <p:cNvSpPr>
            <a:spLocks noGrp="1"/>
          </p:cNvSpPr>
          <p:nvPr>
            <p:ph type="body" sz="quarter" idx="20"/>
          </p:nvPr>
        </p:nvSpPr>
        <p:spPr>
          <a:xfrm>
            <a:off x="6330950" y="266849"/>
            <a:ext cx="3302000" cy="246221"/>
          </a:xfrm>
        </p:spPr>
        <p:txBody>
          <a:bodyPr/>
          <a:lstStyle/>
          <a:p>
            <a:r>
              <a:rPr lang="en-US" altLang="ko-KR" dirty="0"/>
              <a:t>Energy Saving</a:t>
            </a:r>
          </a:p>
        </p:txBody>
      </p:sp>
      <p:sp>
        <p:nvSpPr>
          <p:cNvPr id="79" name="텍스트 개체 틀 6"/>
          <p:cNvSpPr>
            <a:spLocks noGrp="1"/>
          </p:cNvSpPr>
          <p:nvPr>
            <p:ph type="body" sz="quarter" idx="21"/>
          </p:nvPr>
        </p:nvSpPr>
        <p:spPr>
          <a:xfrm>
            <a:off x="278422" y="748127"/>
            <a:ext cx="9342438" cy="246221"/>
          </a:xfrm>
        </p:spPr>
        <p:txBody>
          <a:bodyPr/>
          <a:lstStyle/>
          <a:p>
            <a:r>
              <a:rPr lang="en-US" altLang="ko-KR" dirty="0"/>
              <a:t>LG ERV reduces energy loss with auto fan speed control following CO</a:t>
            </a:r>
            <a:r>
              <a:rPr lang="en-US" altLang="ko-KR" baseline="-25000" dirty="0"/>
              <a:t>2</a:t>
            </a:r>
            <a:r>
              <a:rPr lang="en-US" altLang="ko-KR" dirty="0"/>
              <a:t> level.</a:t>
            </a:r>
          </a:p>
        </p:txBody>
      </p:sp>
      <p:pic>
        <p:nvPicPr>
          <p:cNvPr id="80" name="그림 79"/>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1649" y="2408246"/>
            <a:ext cx="9906000" cy="3965675"/>
          </a:xfrm>
          <a:prstGeom prst="rect">
            <a:avLst/>
          </a:prstGeom>
        </p:spPr>
      </p:pic>
      <p:sp>
        <p:nvSpPr>
          <p:cNvPr id="81" name="직사각형 80"/>
          <p:cNvSpPr/>
          <p:nvPr/>
        </p:nvSpPr>
        <p:spPr>
          <a:xfrm>
            <a:off x="-1" y="1191420"/>
            <a:ext cx="9906001" cy="1176466"/>
          </a:xfrm>
          <a:prstGeom prst="rect">
            <a:avLst/>
          </a:prstGeom>
          <a:blipFill>
            <a:blip r:embed="rId4">
              <a:duotone>
                <a:prstClr val="black"/>
                <a:schemeClr val="accent3">
                  <a:tint val="45000"/>
                  <a:satMod val="400000"/>
                </a:schemeClr>
              </a:duotone>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82" name="직사각형 81"/>
          <p:cNvSpPr/>
          <p:nvPr/>
        </p:nvSpPr>
        <p:spPr>
          <a:xfrm>
            <a:off x="0" y="1191419"/>
            <a:ext cx="9918700" cy="1176850"/>
          </a:xfrm>
          <a:prstGeom prst="rect">
            <a:avLst/>
          </a:prstGeom>
          <a:solidFill>
            <a:schemeClr val="tx1">
              <a:lumMod val="75000"/>
              <a:lumOff val="2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83" name="TextBox 82"/>
          <p:cNvSpPr txBox="1"/>
          <p:nvPr/>
        </p:nvSpPr>
        <p:spPr>
          <a:xfrm>
            <a:off x="-9626" y="1432898"/>
            <a:ext cx="2435191" cy="523220"/>
          </a:xfrm>
          <a:prstGeom prst="rect">
            <a:avLst/>
          </a:prstGeom>
          <a:noFill/>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900" b="1" spc="-80">
                <a:solidFill>
                  <a:schemeClr val="bg1"/>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400" dirty="0">
                <a:solidFill>
                  <a:prstClr val="white"/>
                </a:solidFill>
                <a:latin typeface="Arial" panose="020B0604020202020204" pitchFamily="34" charset="0"/>
                <a:cs typeface="Arial" panose="020B0604020202020204" pitchFamily="34" charset="0"/>
              </a:rPr>
              <a:t>High occupancy </a:t>
            </a:r>
          </a:p>
          <a:p>
            <a:r>
              <a:rPr lang="en-US" altLang="ko-KR" sz="1400" dirty="0">
                <a:solidFill>
                  <a:prstClr val="white"/>
                </a:solidFill>
                <a:latin typeface="Arial" panose="020B0604020202020204" pitchFamily="34" charset="0"/>
                <a:cs typeface="Arial" panose="020B0604020202020204" pitchFamily="34" charset="0"/>
              </a:rPr>
              <a:t>(high CO</a:t>
            </a:r>
            <a:r>
              <a:rPr lang="en-US" altLang="ko-KR" sz="1400" baseline="-25000" dirty="0">
                <a:solidFill>
                  <a:prstClr val="white"/>
                </a:solidFill>
                <a:latin typeface="Arial" panose="020B0604020202020204" pitchFamily="34" charset="0"/>
                <a:cs typeface="Arial" panose="020B0604020202020204" pitchFamily="34" charset="0"/>
              </a:rPr>
              <a:t>2</a:t>
            </a:r>
            <a:r>
              <a:rPr lang="en-US" altLang="ko-KR" sz="1400" dirty="0">
                <a:solidFill>
                  <a:prstClr val="white"/>
                </a:solidFill>
                <a:latin typeface="Arial" panose="020B0604020202020204" pitchFamily="34" charset="0"/>
                <a:cs typeface="Arial" panose="020B0604020202020204" pitchFamily="34" charset="0"/>
              </a:rPr>
              <a:t> level)</a:t>
            </a:r>
          </a:p>
        </p:txBody>
      </p:sp>
      <p:sp>
        <p:nvSpPr>
          <p:cNvPr id="84" name="TextBox 83"/>
          <p:cNvSpPr txBox="1"/>
          <p:nvPr/>
        </p:nvSpPr>
        <p:spPr>
          <a:xfrm>
            <a:off x="2492943" y="1432898"/>
            <a:ext cx="2425566" cy="523220"/>
          </a:xfrm>
          <a:prstGeom prst="rect">
            <a:avLst/>
          </a:prstGeom>
          <a:noFill/>
        </p:spPr>
        <p:txBody>
          <a:bodyPr wrap="square">
            <a:spAutoFit/>
            <a:scene3d>
              <a:camera prst="orthographicFront"/>
              <a:lightRig rig="threePt" dir="t"/>
            </a:scene3d>
            <a:sp3d extrusionH="50800">
              <a:bevelT w="1270" h="1270"/>
            </a:sp3d>
          </a:bodyPr>
          <a:lstStyle>
            <a:defPPr>
              <a:defRPr lang="ko-KR"/>
            </a:defPPr>
            <a:lvl1pPr marL="108000" indent="-108000" algn="r" fontAlgn="base">
              <a:spcBef>
                <a:spcPct val="0"/>
              </a:spcBef>
              <a:spcAft>
                <a:spcPts val="200"/>
              </a:spcAft>
              <a:buFont typeface="Arial" panose="020B0604020202020204" pitchFamily="34" charset="0"/>
              <a:buChar char="•"/>
              <a:defRPr kumimoji="1" sz="900" b="1" spc="-80">
                <a:solidFill>
                  <a:schemeClr val="bg1"/>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marL="0" indent="0" algn="ctr">
              <a:spcAft>
                <a:spcPts val="0"/>
              </a:spcAft>
              <a:buFont typeface="Arial" panose="020B0604020202020204" pitchFamily="34" charset="0"/>
              <a:buNone/>
            </a:pPr>
            <a:r>
              <a:rPr lang="en-US" altLang="ko-KR" sz="1400" dirty="0">
                <a:solidFill>
                  <a:prstClr val="white"/>
                </a:solidFill>
                <a:latin typeface="Arial" panose="020B0604020202020204" pitchFamily="34" charset="0"/>
                <a:cs typeface="Arial" panose="020B0604020202020204" pitchFamily="34" charset="0"/>
              </a:rPr>
              <a:t>Low occupancy </a:t>
            </a:r>
          </a:p>
          <a:p>
            <a:pPr marL="0" indent="0" algn="ctr">
              <a:spcAft>
                <a:spcPts val="0"/>
              </a:spcAft>
              <a:buFont typeface="Arial" panose="020B0604020202020204" pitchFamily="34" charset="0"/>
              <a:buNone/>
            </a:pPr>
            <a:r>
              <a:rPr lang="en-US" altLang="ko-KR" sz="1400" dirty="0">
                <a:solidFill>
                  <a:prstClr val="white"/>
                </a:solidFill>
                <a:latin typeface="Arial" panose="020B0604020202020204" pitchFamily="34" charset="0"/>
                <a:cs typeface="Arial" panose="020B0604020202020204" pitchFamily="34" charset="0"/>
              </a:rPr>
              <a:t>(low CO</a:t>
            </a:r>
            <a:r>
              <a:rPr lang="en-US" altLang="ko-KR" sz="1400" baseline="-25000" dirty="0">
                <a:solidFill>
                  <a:prstClr val="white"/>
                </a:solidFill>
                <a:latin typeface="Arial" panose="020B0604020202020204" pitchFamily="34" charset="0"/>
                <a:cs typeface="Arial" panose="020B0604020202020204" pitchFamily="34" charset="0"/>
              </a:rPr>
              <a:t>2</a:t>
            </a:r>
            <a:r>
              <a:rPr lang="en-US" altLang="ko-KR" sz="1400" dirty="0">
                <a:solidFill>
                  <a:prstClr val="white"/>
                </a:solidFill>
                <a:latin typeface="Arial" panose="020B0604020202020204" pitchFamily="34" charset="0"/>
                <a:cs typeface="Arial" panose="020B0604020202020204" pitchFamily="34" charset="0"/>
              </a:rPr>
              <a:t> level)</a:t>
            </a:r>
          </a:p>
        </p:txBody>
      </p:sp>
      <p:cxnSp>
        <p:nvCxnSpPr>
          <p:cNvPr id="85" name="직선 연결선 84"/>
          <p:cNvCxnSpPr/>
          <p:nvPr/>
        </p:nvCxnSpPr>
        <p:spPr>
          <a:xfrm>
            <a:off x="2461082" y="1047403"/>
            <a:ext cx="0" cy="4191594"/>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직선 연결선 85"/>
          <p:cNvCxnSpPr/>
          <p:nvPr/>
        </p:nvCxnSpPr>
        <p:spPr>
          <a:xfrm>
            <a:off x="4945202" y="1047403"/>
            <a:ext cx="0" cy="4191594"/>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직선 연결선 86"/>
          <p:cNvCxnSpPr/>
          <p:nvPr/>
        </p:nvCxnSpPr>
        <p:spPr>
          <a:xfrm>
            <a:off x="-5894" y="2353576"/>
            <a:ext cx="0" cy="2680007"/>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8" name="그룹 87"/>
          <p:cNvGrpSpPr/>
          <p:nvPr/>
        </p:nvGrpSpPr>
        <p:grpSpPr>
          <a:xfrm>
            <a:off x="4232668" y="2209958"/>
            <a:ext cx="533183" cy="209398"/>
            <a:chOff x="4232668" y="2431315"/>
            <a:chExt cx="533183" cy="209398"/>
          </a:xfrm>
        </p:grpSpPr>
        <p:grpSp>
          <p:nvGrpSpPr>
            <p:cNvPr id="89" name="그룹 88"/>
            <p:cNvGrpSpPr/>
            <p:nvPr/>
          </p:nvGrpSpPr>
          <p:grpSpPr>
            <a:xfrm>
              <a:off x="4232668" y="2431315"/>
              <a:ext cx="533183" cy="209398"/>
              <a:chOff x="1710134" y="2398317"/>
              <a:chExt cx="611141" cy="240015"/>
            </a:xfrm>
          </p:grpSpPr>
          <p:sp>
            <p:nvSpPr>
              <p:cNvPr id="91" name="직사각형 90"/>
              <p:cNvSpPr/>
              <p:nvPr/>
            </p:nvSpPr>
            <p:spPr>
              <a:xfrm>
                <a:off x="1773074" y="2398317"/>
                <a:ext cx="485261" cy="182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92" name="사다리꼴 91"/>
              <p:cNvSpPr/>
              <p:nvPr/>
            </p:nvSpPr>
            <p:spPr>
              <a:xfrm rot="10800000">
                <a:off x="1710134" y="2592613"/>
                <a:ext cx="611141" cy="45719"/>
              </a:xfrm>
              <a:prstGeom prst="trapezoid">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90" name="직사각형 89"/>
            <p:cNvSpPr/>
            <p:nvPr/>
          </p:nvSpPr>
          <p:spPr>
            <a:xfrm>
              <a:off x="4290683" y="2432763"/>
              <a:ext cx="416719" cy="153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grpSp>
      <p:sp>
        <p:nvSpPr>
          <p:cNvPr id="93" name="TextBox 92"/>
          <p:cNvSpPr txBox="1"/>
          <p:nvPr/>
        </p:nvSpPr>
        <p:spPr>
          <a:xfrm>
            <a:off x="3993058" y="2189335"/>
            <a:ext cx="976418" cy="230832"/>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900" dirty="0">
                <a:solidFill>
                  <a:prstClr val="black">
                    <a:lumMod val="65000"/>
                    <a:lumOff val="35000"/>
                  </a:prstClr>
                </a:solidFill>
                <a:latin typeface="Arial" panose="020B0604020202020204" pitchFamily="34" charset="0"/>
                <a:cs typeface="Arial" panose="020B0604020202020204" pitchFamily="34" charset="0"/>
              </a:rPr>
              <a:t>A/C</a:t>
            </a:r>
            <a:endParaRPr lang="ko-KR" altLang="en-US" sz="9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94" name="TextBox 93"/>
          <p:cNvSpPr txBox="1"/>
          <p:nvPr/>
        </p:nvSpPr>
        <p:spPr>
          <a:xfrm>
            <a:off x="5076615" y="1420074"/>
            <a:ext cx="4372662" cy="548868"/>
          </a:xfrm>
          <a:prstGeom prst="rect">
            <a:avLst/>
          </a:prstGeom>
          <a:noFill/>
        </p:spPr>
        <p:txBody>
          <a:bodyPr wrap="square">
            <a:spAutoFit/>
            <a:scene3d>
              <a:camera prst="orthographicFront"/>
              <a:lightRig rig="threePt" dir="t"/>
            </a:scene3d>
            <a:sp3d extrusionH="50800">
              <a:bevelT w="1270" h="1270"/>
            </a:sp3d>
          </a:bodyPr>
          <a:lstStyle>
            <a:defPPr>
              <a:defRPr lang="ko-KR"/>
            </a:defPPr>
            <a:lvl1pPr marL="108000" indent="-108000" fontAlgn="base">
              <a:spcBef>
                <a:spcPct val="0"/>
              </a:spcBef>
              <a:spcAft>
                <a:spcPts val="200"/>
              </a:spcAft>
              <a:buFont typeface="Arial" panose="020B0604020202020204" pitchFamily="34" charset="0"/>
              <a:buChar char="•"/>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400" dirty="0">
                <a:solidFill>
                  <a:prstClr val="white"/>
                </a:solidFill>
                <a:latin typeface="Arial" panose="020B0604020202020204" pitchFamily="34" charset="0"/>
                <a:cs typeface="Arial" panose="020B0604020202020204" pitchFamily="34" charset="0"/>
              </a:rPr>
              <a:t>Reduce power consumption for ventilation.</a:t>
            </a:r>
          </a:p>
          <a:p>
            <a:r>
              <a:rPr lang="en-US" altLang="ko-KR" sz="1400" dirty="0">
                <a:solidFill>
                  <a:prstClr val="white"/>
                </a:solidFill>
                <a:latin typeface="Arial" panose="020B0604020202020204" pitchFamily="34" charset="0"/>
                <a:cs typeface="Arial" panose="020B0604020202020204" pitchFamily="34" charset="0"/>
              </a:rPr>
              <a:t>Reduce cooling, heating energy loss by ventilation.</a:t>
            </a:r>
          </a:p>
        </p:txBody>
      </p:sp>
      <p:cxnSp>
        <p:nvCxnSpPr>
          <p:cNvPr id="95" name="직선 연결선 94"/>
          <p:cNvCxnSpPr/>
          <p:nvPr/>
        </p:nvCxnSpPr>
        <p:spPr>
          <a:xfrm>
            <a:off x="-8758" y="2881721"/>
            <a:ext cx="9927458" cy="0"/>
          </a:xfrm>
          <a:prstGeom prst="line">
            <a:avLst/>
          </a:prstGeom>
          <a:noFill/>
          <a:ln w="19050">
            <a:solidFill>
              <a:schemeClr val="bg1">
                <a:lumMod val="5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96" name="직선 연결선 95"/>
          <p:cNvCxnSpPr/>
          <p:nvPr/>
        </p:nvCxnSpPr>
        <p:spPr>
          <a:xfrm>
            <a:off x="-8758" y="3403246"/>
            <a:ext cx="9984039" cy="0"/>
          </a:xfrm>
          <a:prstGeom prst="line">
            <a:avLst/>
          </a:prstGeom>
          <a:noFill/>
          <a:ln w="9525">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7" name="아래쪽 화살표 96"/>
          <p:cNvSpPr/>
          <p:nvPr/>
        </p:nvSpPr>
        <p:spPr>
          <a:xfrm flipV="1">
            <a:off x="8433828" y="2897897"/>
            <a:ext cx="177378" cy="1229225"/>
          </a:xfrm>
          <a:prstGeom prst="downArrow">
            <a:avLst>
              <a:gd name="adj1" fmla="val 50000"/>
              <a:gd name="adj2" fmla="val 85622"/>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98" name="자유형 97"/>
          <p:cNvSpPr/>
          <p:nvPr/>
        </p:nvSpPr>
        <p:spPr>
          <a:xfrm flipV="1">
            <a:off x="8098793" y="4060628"/>
            <a:ext cx="845266" cy="360235"/>
          </a:xfrm>
          <a:custGeom>
            <a:avLst/>
            <a:gdLst>
              <a:gd name="connsiteX0" fmla="*/ 37539 w 642482"/>
              <a:gd name="connsiteY0" fmla="*/ 0 h 343238"/>
              <a:gd name="connsiteX1" fmla="*/ 604943 w 642482"/>
              <a:gd name="connsiteY1" fmla="*/ 0 h 343238"/>
              <a:gd name="connsiteX2" fmla="*/ 642482 w 642482"/>
              <a:gd name="connsiteY2" fmla="*/ 37539 h 343238"/>
              <a:gd name="connsiteX3" fmla="*/ 642482 w 642482"/>
              <a:gd name="connsiteY3" fmla="*/ 245241 h 343238"/>
              <a:gd name="connsiteX4" fmla="*/ 604943 w 642482"/>
              <a:gd name="connsiteY4" fmla="*/ 282780 h 343238"/>
              <a:gd name="connsiteX5" fmla="*/ 378363 w 642482"/>
              <a:gd name="connsiteY5" fmla="*/ 282780 h 343238"/>
              <a:gd name="connsiteX6" fmla="*/ 321241 w 642482"/>
              <a:gd name="connsiteY6" fmla="*/ 343238 h 343238"/>
              <a:gd name="connsiteX7" fmla="*/ 264120 w 642482"/>
              <a:gd name="connsiteY7" fmla="*/ 282780 h 343238"/>
              <a:gd name="connsiteX8" fmla="*/ 37539 w 642482"/>
              <a:gd name="connsiteY8" fmla="*/ 282780 h 343238"/>
              <a:gd name="connsiteX9" fmla="*/ 0 w 642482"/>
              <a:gd name="connsiteY9" fmla="*/ 245241 h 343238"/>
              <a:gd name="connsiteX10" fmla="*/ 0 w 642482"/>
              <a:gd name="connsiteY10" fmla="*/ 37539 h 343238"/>
              <a:gd name="connsiteX11" fmla="*/ 37539 w 642482"/>
              <a:gd name="connsiteY11" fmla="*/ 0 h 34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482" h="343238">
                <a:moveTo>
                  <a:pt x="37539" y="0"/>
                </a:moveTo>
                <a:lnTo>
                  <a:pt x="604943" y="0"/>
                </a:lnTo>
                <a:cubicBezTo>
                  <a:pt x="625675" y="0"/>
                  <a:pt x="642482" y="16807"/>
                  <a:pt x="642482" y="37539"/>
                </a:cubicBezTo>
                <a:lnTo>
                  <a:pt x="642482" y="245241"/>
                </a:lnTo>
                <a:cubicBezTo>
                  <a:pt x="642482" y="265973"/>
                  <a:pt x="625675" y="282780"/>
                  <a:pt x="604943" y="282780"/>
                </a:cubicBezTo>
                <a:lnTo>
                  <a:pt x="378363" y="282780"/>
                </a:lnTo>
                <a:lnTo>
                  <a:pt x="321241" y="343238"/>
                </a:lnTo>
                <a:lnTo>
                  <a:pt x="264120" y="282780"/>
                </a:lnTo>
                <a:lnTo>
                  <a:pt x="37539" y="282780"/>
                </a:lnTo>
                <a:cubicBezTo>
                  <a:pt x="16807" y="282780"/>
                  <a:pt x="0" y="265973"/>
                  <a:pt x="0" y="245241"/>
                </a:cubicBezTo>
                <a:lnTo>
                  <a:pt x="0" y="37539"/>
                </a:lnTo>
                <a:cubicBezTo>
                  <a:pt x="0" y="16807"/>
                  <a:pt x="16807" y="0"/>
                  <a:pt x="37539" y="0"/>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99" name="모서리가 둥근 직사각형 98"/>
          <p:cNvSpPr/>
          <p:nvPr/>
        </p:nvSpPr>
        <p:spPr>
          <a:xfrm flipV="1">
            <a:off x="8137661" y="4153859"/>
            <a:ext cx="767531" cy="237225"/>
          </a:xfrm>
          <a:prstGeom prst="roundRect">
            <a:avLst>
              <a:gd name="adj" fmla="val 124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00" name="TextBox 99"/>
          <p:cNvSpPr txBox="1"/>
          <p:nvPr/>
        </p:nvSpPr>
        <p:spPr>
          <a:xfrm>
            <a:off x="8069227" y="4147024"/>
            <a:ext cx="899349" cy="270074"/>
          </a:xfrm>
          <a:prstGeom prst="rect">
            <a:avLst/>
          </a:prstGeom>
          <a:noFill/>
        </p:spPr>
        <p:txBody>
          <a:bodyPr wrap="square" rtlCol="0">
            <a:spAutoFit/>
            <a:scene3d>
              <a:camera prst="orthographicFront"/>
              <a:lightRig rig="threePt" dir="t"/>
            </a:scene3d>
            <a:sp3d>
              <a:bevelT w="1270" h="1270"/>
            </a:sp3d>
          </a:bodyPr>
          <a:lstStyle>
            <a:defPPr>
              <a:defRPr lang="ko-KR"/>
            </a:defPPr>
            <a:lvl1pPr>
              <a:lnSpc>
                <a:spcPct val="110000"/>
              </a:lnSpc>
              <a:defRPr sz="1600" b="1">
                <a:gradFill flip="none" rotWithShape="1">
                  <a:gsLst>
                    <a:gs pos="0">
                      <a:srgbClr val="C60751"/>
                    </a:gs>
                    <a:gs pos="100000">
                      <a:srgbClr val="8F0F3D"/>
                    </a:gs>
                  </a:gsLst>
                  <a:lin ang="5400000" scaled="1"/>
                  <a:tileRect/>
                </a:gradFill>
                <a:latin typeface="Calibri" panose="020F0502020204030204" pitchFamily="34" charset="0"/>
              </a:defRPr>
            </a:lvl1pPr>
          </a:lstStyle>
          <a:p>
            <a:pPr algn="ctr" fontAlgn="base">
              <a:spcBef>
                <a:spcPct val="0"/>
              </a:spcBef>
            </a:pPr>
            <a:r>
              <a:rPr kumimoji="1" lang="en-US" altLang="ko-KR" sz="1050" spc="-80" dirty="0">
                <a:solidFill>
                  <a:prstClr val="black">
                    <a:lumMod val="65000"/>
                    <a:lumOff val="35000"/>
                  </a:prstClr>
                </a:solidFill>
                <a:latin typeface="Arial" panose="020B0604020202020204" pitchFamily="34" charset="0"/>
                <a:cs typeface="Arial" panose="020B0604020202020204" pitchFamily="34" charset="0"/>
              </a:rPr>
              <a:t>Extra High</a:t>
            </a:r>
            <a:endParaRPr kumimoji="1" lang="ko-KR" altLang="en-US" sz="1050" spc="-8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01" name="아래쪽 화살표 100"/>
          <p:cNvSpPr/>
          <p:nvPr/>
        </p:nvSpPr>
        <p:spPr>
          <a:xfrm>
            <a:off x="2844875" y="2928030"/>
            <a:ext cx="170436" cy="1649999"/>
          </a:xfrm>
          <a:prstGeom prst="downArrow">
            <a:avLst>
              <a:gd name="adj1" fmla="val 50000"/>
              <a:gd name="adj2" fmla="val 85622"/>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02" name="자유형 101"/>
          <p:cNvSpPr/>
          <p:nvPr/>
        </p:nvSpPr>
        <p:spPr>
          <a:xfrm>
            <a:off x="2508991" y="2925587"/>
            <a:ext cx="845266" cy="360234"/>
          </a:xfrm>
          <a:custGeom>
            <a:avLst/>
            <a:gdLst>
              <a:gd name="connsiteX0" fmla="*/ 37539 w 642482"/>
              <a:gd name="connsiteY0" fmla="*/ 0 h 343238"/>
              <a:gd name="connsiteX1" fmla="*/ 604943 w 642482"/>
              <a:gd name="connsiteY1" fmla="*/ 0 h 343238"/>
              <a:gd name="connsiteX2" fmla="*/ 642482 w 642482"/>
              <a:gd name="connsiteY2" fmla="*/ 37539 h 343238"/>
              <a:gd name="connsiteX3" fmla="*/ 642482 w 642482"/>
              <a:gd name="connsiteY3" fmla="*/ 245241 h 343238"/>
              <a:gd name="connsiteX4" fmla="*/ 604943 w 642482"/>
              <a:gd name="connsiteY4" fmla="*/ 282780 h 343238"/>
              <a:gd name="connsiteX5" fmla="*/ 378363 w 642482"/>
              <a:gd name="connsiteY5" fmla="*/ 282780 h 343238"/>
              <a:gd name="connsiteX6" fmla="*/ 321241 w 642482"/>
              <a:gd name="connsiteY6" fmla="*/ 343238 h 343238"/>
              <a:gd name="connsiteX7" fmla="*/ 264120 w 642482"/>
              <a:gd name="connsiteY7" fmla="*/ 282780 h 343238"/>
              <a:gd name="connsiteX8" fmla="*/ 37539 w 642482"/>
              <a:gd name="connsiteY8" fmla="*/ 282780 h 343238"/>
              <a:gd name="connsiteX9" fmla="*/ 0 w 642482"/>
              <a:gd name="connsiteY9" fmla="*/ 245241 h 343238"/>
              <a:gd name="connsiteX10" fmla="*/ 0 w 642482"/>
              <a:gd name="connsiteY10" fmla="*/ 37539 h 343238"/>
              <a:gd name="connsiteX11" fmla="*/ 37539 w 642482"/>
              <a:gd name="connsiteY11" fmla="*/ 0 h 34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482" h="343238">
                <a:moveTo>
                  <a:pt x="37539" y="0"/>
                </a:moveTo>
                <a:lnTo>
                  <a:pt x="604943" y="0"/>
                </a:lnTo>
                <a:cubicBezTo>
                  <a:pt x="625675" y="0"/>
                  <a:pt x="642482" y="16807"/>
                  <a:pt x="642482" y="37539"/>
                </a:cubicBezTo>
                <a:lnTo>
                  <a:pt x="642482" y="245241"/>
                </a:lnTo>
                <a:cubicBezTo>
                  <a:pt x="642482" y="265973"/>
                  <a:pt x="625675" y="282780"/>
                  <a:pt x="604943" y="282780"/>
                </a:cubicBezTo>
                <a:lnTo>
                  <a:pt x="378363" y="282780"/>
                </a:lnTo>
                <a:lnTo>
                  <a:pt x="321241" y="343238"/>
                </a:lnTo>
                <a:lnTo>
                  <a:pt x="264120" y="282780"/>
                </a:lnTo>
                <a:lnTo>
                  <a:pt x="37539" y="282780"/>
                </a:lnTo>
                <a:cubicBezTo>
                  <a:pt x="16807" y="282780"/>
                  <a:pt x="0" y="265973"/>
                  <a:pt x="0" y="245241"/>
                </a:cubicBezTo>
                <a:lnTo>
                  <a:pt x="0" y="37539"/>
                </a:lnTo>
                <a:cubicBezTo>
                  <a:pt x="0" y="16807"/>
                  <a:pt x="16807" y="0"/>
                  <a:pt x="37539" y="0"/>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03" name="모서리가 둥근 직사각형 102"/>
          <p:cNvSpPr/>
          <p:nvPr/>
        </p:nvSpPr>
        <p:spPr>
          <a:xfrm>
            <a:off x="2547859" y="2950646"/>
            <a:ext cx="767531" cy="237224"/>
          </a:xfrm>
          <a:prstGeom prst="roundRect">
            <a:avLst>
              <a:gd name="adj" fmla="val 124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04" name="TextBox 103"/>
          <p:cNvSpPr txBox="1"/>
          <p:nvPr/>
        </p:nvSpPr>
        <p:spPr>
          <a:xfrm>
            <a:off x="2473006" y="2950646"/>
            <a:ext cx="899349" cy="270074"/>
          </a:xfrm>
          <a:prstGeom prst="rect">
            <a:avLst/>
          </a:prstGeom>
          <a:noFill/>
        </p:spPr>
        <p:txBody>
          <a:bodyPr wrap="square" rtlCol="0">
            <a:spAutoFit/>
            <a:scene3d>
              <a:camera prst="orthographicFront"/>
              <a:lightRig rig="threePt" dir="t"/>
            </a:scene3d>
            <a:sp3d>
              <a:bevelT w="1270" h="1270"/>
            </a:sp3d>
          </a:bodyPr>
          <a:lstStyle>
            <a:defPPr>
              <a:defRPr lang="ko-KR"/>
            </a:defPPr>
            <a:lvl1pPr>
              <a:lnSpc>
                <a:spcPct val="110000"/>
              </a:lnSpc>
              <a:defRPr sz="1600" b="1">
                <a:gradFill flip="none" rotWithShape="1">
                  <a:gsLst>
                    <a:gs pos="0">
                      <a:srgbClr val="C60751"/>
                    </a:gs>
                    <a:gs pos="100000">
                      <a:srgbClr val="8F0F3D"/>
                    </a:gs>
                  </a:gsLst>
                  <a:lin ang="5400000" scaled="1"/>
                  <a:tileRect/>
                </a:gradFill>
                <a:latin typeface="Calibri" panose="020F0502020204030204" pitchFamily="34" charset="0"/>
              </a:defRPr>
            </a:lvl1pPr>
          </a:lstStyle>
          <a:p>
            <a:pPr algn="ctr" fontAlgn="base">
              <a:spcBef>
                <a:spcPct val="0"/>
              </a:spcBef>
            </a:pPr>
            <a:r>
              <a:rPr kumimoji="1" lang="en-US" altLang="ko-KR" sz="1050" spc="-80" dirty="0">
                <a:solidFill>
                  <a:prstClr val="black">
                    <a:lumMod val="65000"/>
                    <a:lumOff val="35000"/>
                  </a:prstClr>
                </a:solidFill>
                <a:latin typeface="Arial" panose="020B0604020202020204" pitchFamily="34" charset="0"/>
                <a:cs typeface="Arial" panose="020B0604020202020204" pitchFamily="34" charset="0"/>
              </a:rPr>
              <a:t>Low</a:t>
            </a:r>
            <a:endParaRPr kumimoji="1" lang="ko-KR" altLang="en-US" sz="1050" spc="-8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05" name="아래쪽 화살표 104"/>
          <p:cNvSpPr/>
          <p:nvPr/>
        </p:nvSpPr>
        <p:spPr>
          <a:xfrm flipV="1">
            <a:off x="385659" y="2396753"/>
            <a:ext cx="170436" cy="1905245"/>
          </a:xfrm>
          <a:prstGeom prst="downArrow">
            <a:avLst>
              <a:gd name="adj1" fmla="val 50000"/>
              <a:gd name="adj2" fmla="val 85622"/>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06" name="그룹 105"/>
          <p:cNvGrpSpPr/>
          <p:nvPr/>
        </p:nvGrpSpPr>
        <p:grpSpPr>
          <a:xfrm>
            <a:off x="8905192" y="724134"/>
            <a:ext cx="1172435" cy="429221"/>
            <a:chOff x="7226331" y="1314978"/>
            <a:chExt cx="1170639" cy="428562"/>
          </a:xfrm>
        </p:grpSpPr>
        <p:cxnSp>
          <p:nvCxnSpPr>
            <p:cNvPr id="107" name="직선 연결선 106"/>
            <p:cNvCxnSpPr/>
            <p:nvPr/>
          </p:nvCxnSpPr>
          <p:spPr>
            <a:xfrm>
              <a:off x="7226331" y="1604148"/>
              <a:ext cx="204029" cy="0"/>
            </a:xfrm>
            <a:prstGeom prst="line">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cxnSp>
        <p:grpSp>
          <p:nvGrpSpPr>
            <p:cNvPr id="108" name="그룹 107"/>
            <p:cNvGrpSpPr/>
            <p:nvPr/>
          </p:nvGrpSpPr>
          <p:grpSpPr>
            <a:xfrm>
              <a:off x="7226374" y="1314978"/>
              <a:ext cx="1170596" cy="261208"/>
              <a:chOff x="8134575" y="1091187"/>
              <a:chExt cx="1170596" cy="261208"/>
            </a:xfrm>
          </p:grpSpPr>
          <p:cxnSp>
            <p:nvCxnSpPr>
              <p:cNvPr id="110" name="직선 연결선 109"/>
              <p:cNvCxnSpPr/>
              <p:nvPr/>
            </p:nvCxnSpPr>
            <p:spPr>
              <a:xfrm>
                <a:off x="8134575" y="1219014"/>
                <a:ext cx="204029" cy="0"/>
              </a:xfrm>
              <a:prstGeom prst="line">
                <a:avLst/>
              </a:prstGeom>
              <a:noFill/>
              <a:ln w="19050">
                <a:solidFill>
                  <a:srgbClr val="C60751"/>
                </a:solidFill>
              </a:ln>
            </p:spPr>
            <p:style>
              <a:lnRef idx="2">
                <a:schemeClr val="accent1">
                  <a:shade val="50000"/>
                </a:schemeClr>
              </a:lnRef>
              <a:fillRef idx="1">
                <a:schemeClr val="accent1"/>
              </a:fillRef>
              <a:effectRef idx="0">
                <a:schemeClr val="accent1"/>
              </a:effectRef>
              <a:fontRef idx="minor">
                <a:schemeClr val="lt1"/>
              </a:fontRef>
            </p:style>
          </p:cxnSp>
          <p:sp>
            <p:nvSpPr>
              <p:cNvPr id="111" name="TextBox 110"/>
              <p:cNvSpPr txBox="1"/>
              <p:nvPr/>
            </p:nvSpPr>
            <p:spPr>
              <a:xfrm>
                <a:off x="8330249" y="1091187"/>
                <a:ext cx="974922" cy="261208"/>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sz="1100" dirty="0">
                    <a:solidFill>
                      <a:prstClr val="black">
                        <a:lumMod val="65000"/>
                        <a:lumOff val="35000"/>
                      </a:prstClr>
                    </a:solidFill>
                    <a:latin typeface="Arial" panose="020B0604020202020204" pitchFamily="34" charset="0"/>
                    <a:cs typeface="Arial" panose="020B0604020202020204" pitchFamily="34" charset="0"/>
                  </a:rPr>
                  <a:t>CO</a:t>
                </a:r>
                <a:r>
                  <a:rPr lang="en-US" altLang="ko-KR" sz="1100" baseline="-25000" dirty="0">
                    <a:solidFill>
                      <a:prstClr val="black">
                        <a:lumMod val="65000"/>
                        <a:lumOff val="35000"/>
                      </a:prstClr>
                    </a:solidFill>
                    <a:latin typeface="Arial" panose="020B0604020202020204" pitchFamily="34" charset="0"/>
                    <a:cs typeface="Arial" panose="020B0604020202020204" pitchFamily="34" charset="0"/>
                  </a:rPr>
                  <a:t>2</a:t>
                </a:r>
                <a:r>
                  <a:rPr lang="en-US" altLang="ko-KR" sz="1100" dirty="0">
                    <a:solidFill>
                      <a:prstClr val="black">
                        <a:lumMod val="65000"/>
                        <a:lumOff val="35000"/>
                      </a:prstClr>
                    </a:solidFill>
                    <a:latin typeface="Arial" panose="020B0604020202020204" pitchFamily="34" charset="0"/>
                    <a:cs typeface="Arial" panose="020B0604020202020204" pitchFamily="34" charset="0"/>
                  </a:rPr>
                  <a:t> level</a:t>
                </a:r>
                <a:endParaRPr lang="ko-KR" altLang="en-US" sz="1100" dirty="0">
                  <a:solidFill>
                    <a:prstClr val="black">
                      <a:lumMod val="65000"/>
                      <a:lumOff val="35000"/>
                    </a:prstClr>
                  </a:solidFill>
                  <a:latin typeface="Arial" panose="020B0604020202020204" pitchFamily="34" charset="0"/>
                  <a:cs typeface="Arial" panose="020B0604020202020204" pitchFamily="34" charset="0"/>
                </a:endParaRPr>
              </a:p>
            </p:txBody>
          </p:sp>
        </p:grpSp>
        <p:sp>
          <p:nvSpPr>
            <p:cNvPr id="109" name="TextBox 108"/>
            <p:cNvSpPr txBox="1"/>
            <p:nvPr/>
          </p:nvSpPr>
          <p:spPr>
            <a:xfrm>
              <a:off x="7422006" y="1482332"/>
              <a:ext cx="974922" cy="261208"/>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sz="1100" dirty="0">
                  <a:solidFill>
                    <a:prstClr val="black">
                      <a:lumMod val="65000"/>
                      <a:lumOff val="35000"/>
                    </a:prstClr>
                  </a:solidFill>
                  <a:latin typeface="Arial" panose="020B0604020202020204" pitchFamily="34" charset="0"/>
                  <a:cs typeface="Arial" panose="020B0604020202020204" pitchFamily="34" charset="0"/>
                </a:rPr>
                <a:t>Fan speed</a:t>
              </a:r>
              <a:endParaRPr lang="ko-KR" altLang="en-US" sz="1100" dirty="0">
                <a:solidFill>
                  <a:prstClr val="black">
                    <a:lumMod val="65000"/>
                    <a:lumOff val="35000"/>
                  </a:prstClr>
                </a:solidFill>
                <a:latin typeface="Arial" panose="020B0604020202020204" pitchFamily="34" charset="0"/>
                <a:cs typeface="Arial" panose="020B0604020202020204" pitchFamily="34" charset="0"/>
              </a:endParaRPr>
            </a:p>
          </p:txBody>
        </p:sp>
      </p:grpSp>
      <p:grpSp>
        <p:nvGrpSpPr>
          <p:cNvPr id="112" name="그룹 111"/>
          <p:cNvGrpSpPr/>
          <p:nvPr/>
        </p:nvGrpSpPr>
        <p:grpSpPr>
          <a:xfrm>
            <a:off x="4287572" y="2538210"/>
            <a:ext cx="1316735" cy="320860"/>
            <a:chOff x="5520019" y="2200767"/>
            <a:chExt cx="1316735" cy="320860"/>
          </a:xfrm>
        </p:grpSpPr>
        <p:sp>
          <p:nvSpPr>
            <p:cNvPr id="113" name="TextBox 112"/>
            <p:cNvSpPr txBox="1"/>
            <p:nvPr/>
          </p:nvSpPr>
          <p:spPr>
            <a:xfrm>
              <a:off x="5520019" y="2200767"/>
              <a:ext cx="1316735" cy="286232"/>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120000"/>
                </a:lnSpc>
              </a:pPr>
              <a:r>
                <a:rPr lang="en-US" altLang="ko-KR" sz="1050" dirty="0">
                  <a:solidFill>
                    <a:prstClr val="black">
                      <a:lumMod val="65000"/>
                      <a:lumOff val="35000"/>
                    </a:prstClr>
                  </a:solidFill>
                  <a:latin typeface="Arial" panose="020B0604020202020204" pitchFamily="34" charset="0"/>
                  <a:cs typeface="Arial" panose="020B0604020202020204" pitchFamily="34" charset="0"/>
                </a:rPr>
                <a:t>Fine CO</a:t>
              </a:r>
              <a:r>
                <a:rPr lang="en-US" altLang="ko-KR" sz="1050" baseline="-25000" dirty="0">
                  <a:solidFill>
                    <a:prstClr val="black">
                      <a:lumMod val="65000"/>
                      <a:lumOff val="35000"/>
                    </a:prstClr>
                  </a:solidFill>
                  <a:latin typeface="Arial" panose="020B0604020202020204" pitchFamily="34" charset="0"/>
                  <a:cs typeface="Arial" panose="020B0604020202020204" pitchFamily="34" charset="0"/>
                </a:rPr>
                <a:t>2</a:t>
              </a:r>
              <a:r>
                <a:rPr lang="en-US" altLang="ko-KR" sz="1050" dirty="0">
                  <a:solidFill>
                    <a:prstClr val="black">
                      <a:lumMod val="65000"/>
                      <a:lumOff val="35000"/>
                    </a:prstClr>
                  </a:solidFill>
                  <a:latin typeface="Arial" panose="020B0604020202020204" pitchFamily="34" charset="0"/>
                  <a:cs typeface="Arial" panose="020B0604020202020204" pitchFamily="34" charset="0"/>
                </a:rPr>
                <a:t> level</a:t>
              </a:r>
              <a:endParaRPr lang="ko-KR" altLang="en-US" sz="105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14" name="이등변 삼각형 113"/>
            <p:cNvSpPr/>
            <p:nvPr/>
          </p:nvSpPr>
          <p:spPr>
            <a:xfrm rot="10800000">
              <a:off x="6140755" y="2465674"/>
              <a:ext cx="79375" cy="55953"/>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grpSp>
      <p:grpSp>
        <p:nvGrpSpPr>
          <p:cNvPr id="115" name="그룹 114"/>
          <p:cNvGrpSpPr/>
          <p:nvPr/>
        </p:nvGrpSpPr>
        <p:grpSpPr>
          <a:xfrm>
            <a:off x="1827529" y="2209958"/>
            <a:ext cx="533183" cy="209398"/>
            <a:chOff x="1827529" y="2431315"/>
            <a:chExt cx="533183" cy="209398"/>
          </a:xfrm>
        </p:grpSpPr>
        <p:grpSp>
          <p:nvGrpSpPr>
            <p:cNvPr id="116" name="그룹 115"/>
            <p:cNvGrpSpPr/>
            <p:nvPr/>
          </p:nvGrpSpPr>
          <p:grpSpPr>
            <a:xfrm>
              <a:off x="1827529" y="2431315"/>
              <a:ext cx="533183" cy="209398"/>
              <a:chOff x="1710134" y="2398317"/>
              <a:chExt cx="611141" cy="240015"/>
            </a:xfrm>
          </p:grpSpPr>
          <p:sp>
            <p:nvSpPr>
              <p:cNvPr id="118" name="직사각형 117"/>
              <p:cNvSpPr/>
              <p:nvPr/>
            </p:nvSpPr>
            <p:spPr>
              <a:xfrm>
                <a:off x="1773074" y="2398317"/>
                <a:ext cx="485261" cy="182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19" name="사다리꼴 118"/>
              <p:cNvSpPr/>
              <p:nvPr/>
            </p:nvSpPr>
            <p:spPr>
              <a:xfrm rot="10800000">
                <a:off x="1710134" y="2592613"/>
                <a:ext cx="611141" cy="45719"/>
              </a:xfrm>
              <a:prstGeom prst="trapezoid">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117" name="직사각형 116"/>
            <p:cNvSpPr/>
            <p:nvPr/>
          </p:nvSpPr>
          <p:spPr>
            <a:xfrm>
              <a:off x="1885950" y="2432763"/>
              <a:ext cx="416719" cy="153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grpSp>
      <p:sp>
        <p:nvSpPr>
          <p:cNvPr id="121" name="자유형 120"/>
          <p:cNvSpPr/>
          <p:nvPr/>
        </p:nvSpPr>
        <p:spPr>
          <a:xfrm rot="16200000">
            <a:off x="938124" y="1598115"/>
            <a:ext cx="337059" cy="1262743"/>
          </a:xfrm>
          <a:custGeom>
            <a:avLst/>
            <a:gdLst>
              <a:gd name="connsiteX0" fmla="*/ 650429 w 650429"/>
              <a:gd name="connsiteY0" fmla="*/ 375680 h 2436733"/>
              <a:gd name="connsiteX1" fmla="*/ 650429 w 650429"/>
              <a:gd name="connsiteY1" fmla="*/ 1206794 h 2436733"/>
              <a:gd name="connsiteX2" fmla="*/ 566329 w 650429"/>
              <a:gd name="connsiteY2" fmla="*/ 1206794 h 2436733"/>
              <a:gd name="connsiteX3" fmla="*/ 566329 w 650429"/>
              <a:gd name="connsiteY3" fmla="*/ 2355851 h 2436733"/>
              <a:gd name="connsiteX4" fmla="*/ 468735 w 650429"/>
              <a:gd name="connsiteY4" fmla="*/ 2428127 h 2436733"/>
              <a:gd name="connsiteX5" fmla="*/ 110512 w 650429"/>
              <a:gd name="connsiteY5" fmla="*/ 2425204 h 2436733"/>
              <a:gd name="connsiteX6" fmla="*/ 55658 w 650429"/>
              <a:gd name="connsiteY6" fmla="*/ 2424951 h 2436733"/>
              <a:gd name="connsiteX7" fmla="*/ 55658 w 650429"/>
              <a:gd name="connsiteY7" fmla="*/ 2436733 h 2436733"/>
              <a:gd name="connsiteX8" fmla="*/ 14332 w 650429"/>
              <a:gd name="connsiteY8" fmla="*/ 2436733 h 2436733"/>
              <a:gd name="connsiteX9" fmla="*/ 14332 w 650429"/>
              <a:gd name="connsiteY9" fmla="*/ 2331564 h 2436733"/>
              <a:gd name="connsiteX10" fmla="*/ 55658 w 650429"/>
              <a:gd name="connsiteY10" fmla="*/ 2333723 h 2436733"/>
              <a:gd name="connsiteX11" fmla="*/ 55658 w 650429"/>
              <a:gd name="connsiteY11" fmla="*/ 2347392 h 2436733"/>
              <a:gd name="connsiteX12" fmla="*/ 212060 w 650429"/>
              <a:gd name="connsiteY12" fmla="*/ 2347870 h 2436733"/>
              <a:gd name="connsiteX13" fmla="*/ 402857 w 650429"/>
              <a:gd name="connsiteY13" fmla="*/ 2346292 h 2436733"/>
              <a:gd name="connsiteX14" fmla="*/ 463537 w 650429"/>
              <a:gd name="connsiteY14" fmla="*/ 2316806 h 2436733"/>
              <a:gd name="connsiteX15" fmla="*/ 468740 w 650429"/>
              <a:gd name="connsiteY15" fmla="*/ 1204958 h 2436733"/>
              <a:gd name="connsiteX16" fmla="*/ 322067 w 650429"/>
              <a:gd name="connsiteY16" fmla="*/ 1205735 h 2436733"/>
              <a:gd name="connsiteX17" fmla="*/ 319462 w 650429"/>
              <a:gd name="connsiteY17" fmla="*/ 1563289 h 2436733"/>
              <a:gd name="connsiteX18" fmla="*/ 319086 w 650429"/>
              <a:gd name="connsiteY18" fmla="*/ 2036345 h 2436733"/>
              <a:gd name="connsiteX19" fmla="*/ 242212 w 650429"/>
              <a:gd name="connsiteY19" fmla="*/ 2093348 h 2436733"/>
              <a:gd name="connsiteX20" fmla="*/ 68749 w 650429"/>
              <a:gd name="connsiteY20" fmla="*/ 2094834 h 2436733"/>
              <a:gd name="connsiteX21" fmla="*/ 68749 w 650429"/>
              <a:gd name="connsiteY21" fmla="*/ 2119322 h 2436733"/>
              <a:gd name="connsiteX22" fmla="*/ 0 w 650429"/>
              <a:gd name="connsiteY22" fmla="*/ 2119322 h 2436733"/>
              <a:gd name="connsiteX23" fmla="*/ 0 w 650429"/>
              <a:gd name="connsiteY23" fmla="*/ 1988871 h 2436733"/>
              <a:gd name="connsiteX24" fmla="*/ 68749 w 650429"/>
              <a:gd name="connsiteY24" fmla="*/ 1988871 h 2436733"/>
              <a:gd name="connsiteX25" fmla="*/ 68749 w 650429"/>
              <a:gd name="connsiteY25" fmla="*/ 2012868 h 2436733"/>
              <a:gd name="connsiteX26" fmla="*/ 183355 w 650429"/>
              <a:gd name="connsiteY26" fmla="*/ 2012532 h 2436733"/>
              <a:gd name="connsiteX27" fmla="*/ 229307 w 650429"/>
              <a:gd name="connsiteY27" fmla="*/ 1985265 h 2436733"/>
              <a:gd name="connsiteX28" fmla="*/ 229922 w 650429"/>
              <a:gd name="connsiteY28" fmla="*/ 1563783 h 2436733"/>
              <a:gd name="connsiteX29" fmla="*/ 229922 w 650429"/>
              <a:gd name="connsiteY29" fmla="*/ 1206794 h 2436733"/>
              <a:gd name="connsiteX30" fmla="*/ 173853 w 650429"/>
              <a:gd name="connsiteY30" fmla="*/ 1206794 h 2436733"/>
              <a:gd name="connsiteX31" fmla="*/ 168649 w 650429"/>
              <a:gd name="connsiteY31" fmla="*/ 368833 h 2436733"/>
              <a:gd name="connsiteX32" fmla="*/ 220579 w 650429"/>
              <a:gd name="connsiteY32" fmla="*/ 368831 h 2436733"/>
              <a:gd name="connsiteX33" fmla="*/ 220579 w 650429"/>
              <a:gd name="connsiteY33" fmla="*/ 24668 h 2436733"/>
              <a:gd name="connsiteX34" fmla="*/ 196119 w 650429"/>
              <a:gd name="connsiteY34" fmla="*/ 24668 h 2436733"/>
              <a:gd name="connsiteX35" fmla="*/ 196119 w 650429"/>
              <a:gd name="connsiteY35" fmla="*/ 0 h 2436733"/>
              <a:gd name="connsiteX36" fmla="*/ 357833 w 650429"/>
              <a:gd name="connsiteY36" fmla="*/ 0 h 2436733"/>
              <a:gd name="connsiteX37" fmla="*/ 357833 w 650429"/>
              <a:gd name="connsiteY37" fmla="*/ 24668 h 2436733"/>
              <a:gd name="connsiteX38" fmla="*/ 332714 w 650429"/>
              <a:gd name="connsiteY38" fmla="*/ 24668 h 2436733"/>
              <a:gd name="connsiteX39" fmla="*/ 332714 w 650429"/>
              <a:gd name="connsiteY39" fmla="*/ 373206 h 2436733"/>
              <a:gd name="connsiteX40" fmla="*/ 447926 w 650429"/>
              <a:gd name="connsiteY40" fmla="*/ 373206 h 2436733"/>
              <a:gd name="connsiteX41" fmla="*/ 446031 w 650429"/>
              <a:gd name="connsiteY41" fmla="*/ 24668 h 2436733"/>
              <a:gd name="connsiteX42" fmla="*/ 424450 w 650429"/>
              <a:gd name="connsiteY42" fmla="*/ 24668 h 2436733"/>
              <a:gd name="connsiteX43" fmla="*/ 424450 w 650429"/>
              <a:gd name="connsiteY43" fmla="*/ 0 h 2436733"/>
              <a:gd name="connsiteX44" fmla="*/ 586164 w 650429"/>
              <a:gd name="connsiteY44" fmla="*/ 0 h 2436733"/>
              <a:gd name="connsiteX45" fmla="*/ 586164 w 650429"/>
              <a:gd name="connsiteY45" fmla="*/ 24668 h 2436733"/>
              <a:gd name="connsiteX46" fmla="*/ 561425 w 650429"/>
              <a:gd name="connsiteY46" fmla="*/ 24668 h 2436733"/>
              <a:gd name="connsiteX47" fmla="*/ 566329 w 650429"/>
              <a:gd name="connsiteY47" fmla="*/ 375680 h 243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50429" h="2436733">
                <a:moveTo>
                  <a:pt x="650429" y="375680"/>
                </a:moveTo>
                <a:lnTo>
                  <a:pt x="650429" y="1206794"/>
                </a:lnTo>
                <a:lnTo>
                  <a:pt x="566329" y="1206794"/>
                </a:lnTo>
                <a:lnTo>
                  <a:pt x="566329" y="2355851"/>
                </a:lnTo>
                <a:cubicBezTo>
                  <a:pt x="560540" y="2414632"/>
                  <a:pt x="525686" y="2427444"/>
                  <a:pt x="468735" y="2428127"/>
                </a:cubicBezTo>
                <a:lnTo>
                  <a:pt x="110512" y="2425204"/>
                </a:lnTo>
                <a:lnTo>
                  <a:pt x="55658" y="2424951"/>
                </a:lnTo>
                <a:lnTo>
                  <a:pt x="55658" y="2436733"/>
                </a:lnTo>
                <a:lnTo>
                  <a:pt x="14332" y="2436733"/>
                </a:lnTo>
                <a:lnTo>
                  <a:pt x="14332" y="2331564"/>
                </a:lnTo>
                <a:lnTo>
                  <a:pt x="55658" y="2333723"/>
                </a:lnTo>
                <a:lnTo>
                  <a:pt x="55658" y="2347392"/>
                </a:lnTo>
                <a:lnTo>
                  <a:pt x="212060" y="2347870"/>
                </a:lnTo>
                <a:lnTo>
                  <a:pt x="402857" y="2346292"/>
                </a:lnTo>
                <a:cubicBezTo>
                  <a:pt x="446503" y="2345233"/>
                  <a:pt x="458922" y="2343494"/>
                  <a:pt x="463537" y="2316806"/>
                </a:cubicBezTo>
                <a:cubicBezTo>
                  <a:pt x="465271" y="1946190"/>
                  <a:pt x="467006" y="1575574"/>
                  <a:pt x="468740" y="1204958"/>
                </a:cubicBezTo>
                <a:cubicBezTo>
                  <a:pt x="420284" y="1205993"/>
                  <a:pt x="343047" y="1206591"/>
                  <a:pt x="322067" y="1205735"/>
                </a:cubicBezTo>
                <a:cubicBezTo>
                  <a:pt x="320608" y="1211872"/>
                  <a:pt x="319462" y="1440997"/>
                  <a:pt x="319462" y="1563289"/>
                </a:cubicBezTo>
                <a:cubicBezTo>
                  <a:pt x="318965" y="1704898"/>
                  <a:pt x="318864" y="1947605"/>
                  <a:pt x="319086" y="2036345"/>
                </a:cubicBezTo>
                <a:cubicBezTo>
                  <a:pt x="314545" y="2084602"/>
                  <a:pt x="278604" y="2090276"/>
                  <a:pt x="242212" y="2093348"/>
                </a:cubicBezTo>
                <a:lnTo>
                  <a:pt x="68749" y="2094834"/>
                </a:lnTo>
                <a:lnTo>
                  <a:pt x="68749" y="2119322"/>
                </a:lnTo>
                <a:lnTo>
                  <a:pt x="0" y="2119322"/>
                </a:lnTo>
                <a:lnTo>
                  <a:pt x="0" y="1988871"/>
                </a:lnTo>
                <a:lnTo>
                  <a:pt x="68749" y="1988871"/>
                </a:lnTo>
                <a:lnTo>
                  <a:pt x="68749" y="2012868"/>
                </a:lnTo>
                <a:lnTo>
                  <a:pt x="183355" y="2012532"/>
                </a:lnTo>
                <a:cubicBezTo>
                  <a:pt x="212959" y="2012968"/>
                  <a:pt x="225895" y="2003879"/>
                  <a:pt x="229307" y="1985265"/>
                </a:cubicBezTo>
                <a:cubicBezTo>
                  <a:pt x="229512" y="1845565"/>
                  <a:pt x="229718" y="1703483"/>
                  <a:pt x="229922" y="1563783"/>
                </a:cubicBezTo>
                <a:lnTo>
                  <a:pt x="229922" y="1206794"/>
                </a:lnTo>
                <a:lnTo>
                  <a:pt x="173853" y="1206794"/>
                </a:lnTo>
                <a:cubicBezTo>
                  <a:pt x="172118" y="927474"/>
                  <a:pt x="170384" y="648154"/>
                  <a:pt x="168649" y="368833"/>
                </a:cubicBezTo>
                <a:lnTo>
                  <a:pt x="220579" y="368831"/>
                </a:lnTo>
                <a:lnTo>
                  <a:pt x="220579" y="24668"/>
                </a:lnTo>
                <a:lnTo>
                  <a:pt x="196119" y="24668"/>
                </a:lnTo>
                <a:lnTo>
                  <a:pt x="196119" y="0"/>
                </a:lnTo>
                <a:lnTo>
                  <a:pt x="357833" y="0"/>
                </a:lnTo>
                <a:lnTo>
                  <a:pt x="357833" y="24668"/>
                </a:lnTo>
                <a:lnTo>
                  <a:pt x="332714" y="24668"/>
                </a:lnTo>
                <a:lnTo>
                  <a:pt x="332714" y="373206"/>
                </a:lnTo>
                <a:lnTo>
                  <a:pt x="447926" y="373206"/>
                </a:lnTo>
                <a:lnTo>
                  <a:pt x="446031" y="24668"/>
                </a:lnTo>
                <a:lnTo>
                  <a:pt x="424450" y="24668"/>
                </a:lnTo>
                <a:lnTo>
                  <a:pt x="424450" y="0"/>
                </a:lnTo>
                <a:lnTo>
                  <a:pt x="586164" y="0"/>
                </a:lnTo>
                <a:lnTo>
                  <a:pt x="586164" y="24668"/>
                </a:lnTo>
                <a:lnTo>
                  <a:pt x="561425" y="24668"/>
                </a:lnTo>
                <a:cubicBezTo>
                  <a:pt x="563060" y="141672"/>
                  <a:pt x="564695" y="258676"/>
                  <a:pt x="566329" y="37568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22" name="자유형 121"/>
          <p:cNvSpPr/>
          <p:nvPr/>
        </p:nvSpPr>
        <p:spPr>
          <a:xfrm rot="6300000">
            <a:off x="54097" y="2090551"/>
            <a:ext cx="303568" cy="337690"/>
          </a:xfrm>
          <a:custGeom>
            <a:avLst/>
            <a:gdLst>
              <a:gd name="connsiteX0" fmla="*/ 7584 w 286172"/>
              <a:gd name="connsiteY0" fmla="*/ 299217 h 394416"/>
              <a:gd name="connsiteX1" fmla="*/ 14220 w 286172"/>
              <a:gd name="connsiteY1" fmla="*/ 254417 h 394416"/>
              <a:gd name="connsiteX2" fmla="*/ 208 w 286172"/>
              <a:gd name="connsiteY2" fmla="*/ 208454 h 394416"/>
              <a:gd name="connsiteX3" fmla="*/ 25798 w 286172"/>
              <a:gd name="connsiteY3" fmla="*/ 167600 h 394416"/>
              <a:gd name="connsiteX4" fmla="*/ 26042 w 286172"/>
              <a:gd name="connsiteY4" fmla="*/ 166524 h 394416"/>
              <a:gd name="connsiteX5" fmla="*/ 37441 w 286172"/>
              <a:gd name="connsiteY5" fmla="*/ 107857 h 394416"/>
              <a:gd name="connsiteX6" fmla="*/ 63706 w 286172"/>
              <a:gd name="connsiteY6" fmla="*/ 85337 h 394416"/>
              <a:gd name="connsiteX7" fmla="*/ 79009 w 286172"/>
              <a:gd name="connsiteY7" fmla="*/ 90117 h 394416"/>
              <a:gd name="connsiteX8" fmla="*/ 46666 w 286172"/>
              <a:gd name="connsiteY8" fmla="*/ 23051 h 394416"/>
              <a:gd name="connsiteX9" fmla="*/ 141897 w 286172"/>
              <a:gd name="connsiteY9" fmla="*/ 0 h 394416"/>
              <a:gd name="connsiteX10" fmla="*/ 148254 w 286172"/>
              <a:gd name="connsiteY10" fmla="*/ 80136 h 394416"/>
              <a:gd name="connsiteX11" fmla="*/ 148804 w 286172"/>
              <a:gd name="connsiteY11" fmla="*/ 80540 h 394416"/>
              <a:gd name="connsiteX12" fmla="*/ 149003 w 286172"/>
              <a:gd name="connsiteY12" fmla="*/ 80161 h 394416"/>
              <a:gd name="connsiteX13" fmla="*/ 157761 w 286172"/>
              <a:gd name="connsiteY13" fmla="*/ 63488 h 394416"/>
              <a:gd name="connsiteX14" fmla="*/ 170589 w 286172"/>
              <a:gd name="connsiteY14" fmla="*/ 55133 h 394416"/>
              <a:gd name="connsiteX15" fmla="*/ 185602 w 286172"/>
              <a:gd name="connsiteY15" fmla="*/ 58165 h 394416"/>
              <a:gd name="connsiteX16" fmla="*/ 197260 w 286172"/>
              <a:gd name="connsiteY16" fmla="*/ 72632 h 394416"/>
              <a:gd name="connsiteX17" fmla="*/ 197608 w 286172"/>
              <a:gd name="connsiteY17" fmla="*/ 73064 h 394416"/>
              <a:gd name="connsiteX18" fmla="*/ 234854 w 286172"/>
              <a:gd name="connsiteY18" fmla="*/ 58985 h 394416"/>
              <a:gd name="connsiteX19" fmla="*/ 253742 w 286172"/>
              <a:gd name="connsiteY19" fmla="*/ 97394 h 394416"/>
              <a:gd name="connsiteX20" fmla="*/ 253846 w 286172"/>
              <a:gd name="connsiteY20" fmla="*/ 97489 h 394416"/>
              <a:gd name="connsiteX21" fmla="*/ 268760 w 286172"/>
              <a:gd name="connsiteY21" fmla="*/ 111086 h 394416"/>
              <a:gd name="connsiteX22" fmla="*/ 277982 w 286172"/>
              <a:gd name="connsiteY22" fmla="*/ 134671 h 394416"/>
              <a:gd name="connsiteX23" fmla="*/ 276897 w 286172"/>
              <a:gd name="connsiteY23" fmla="*/ 175092 h 394416"/>
              <a:gd name="connsiteX24" fmla="*/ 284823 w 286172"/>
              <a:gd name="connsiteY24" fmla="*/ 236895 h 394416"/>
              <a:gd name="connsiteX25" fmla="*/ 247695 w 286172"/>
              <a:gd name="connsiteY25" fmla="*/ 290994 h 394416"/>
              <a:gd name="connsiteX26" fmla="*/ 234404 w 286172"/>
              <a:gd name="connsiteY26" fmla="*/ 337351 h 394416"/>
              <a:gd name="connsiteX27" fmla="*/ 189153 w 286172"/>
              <a:gd name="connsiteY27" fmla="*/ 342964 h 394416"/>
              <a:gd name="connsiteX28" fmla="*/ 156815 w 286172"/>
              <a:gd name="connsiteY28" fmla="*/ 392417 h 394416"/>
              <a:gd name="connsiteX29" fmla="*/ 109268 w 286172"/>
              <a:gd name="connsiteY29" fmla="*/ 362231 h 394416"/>
              <a:gd name="connsiteX30" fmla="*/ 38639 w 286172"/>
              <a:gd name="connsiteY30" fmla="*/ 332406 h 394416"/>
              <a:gd name="connsiteX31" fmla="*/ 7584 w 286172"/>
              <a:gd name="connsiteY31" fmla="*/ 299217 h 3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6172" h="394416">
                <a:moveTo>
                  <a:pt x="7584" y="299217"/>
                </a:moveTo>
                <a:cubicBezTo>
                  <a:pt x="4733" y="283440"/>
                  <a:pt x="7254" y="266413"/>
                  <a:pt x="14220" y="254417"/>
                </a:cubicBezTo>
                <a:cubicBezTo>
                  <a:pt x="4336" y="245008"/>
                  <a:pt x="-1168" y="226951"/>
                  <a:pt x="208" y="208454"/>
                </a:cubicBezTo>
                <a:cubicBezTo>
                  <a:pt x="1822" y="186797"/>
                  <a:pt x="12447" y="169833"/>
                  <a:pt x="25798" y="167600"/>
                </a:cubicBezTo>
                <a:cubicBezTo>
                  <a:pt x="25877" y="167239"/>
                  <a:pt x="25963" y="166885"/>
                  <a:pt x="26042" y="166524"/>
                </a:cubicBezTo>
                <a:cubicBezTo>
                  <a:pt x="24249" y="145197"/>
                  <a:pt x="28431" y="123689"/>
                  <a:pt x="37441" y="107857"/>
                </a:cubicBezTo>
                <a:cubicBezTo>
                  <a:pt x="44560" y="95354"/>
                  <a:pt x="53890" y="87709"/>
                  <a:pt x="63706" y="85337"/>
                </a:cubicBezTo>
                <a:lnTo>
                  <a:pt x="79009" y="90117"/>
                </a:lnTo>
                <a:lnTo>
                  <a:pt x="46666" y="23051"/>
                </a:lnTo>
                <a:cubicBezTo>
                  <a:pt x="73861" y="16586"/>
                  <a:pt x="114703" y="6465"/>
                  <a:pt x="141897" y="0"/>
                </a:cubicBezTo>
                <a:lnTo>
                  <a:pt x="148254" y="80136"/>
                </a:lnTo>
                <a:lnTo>
                  <a:pt x="148804" y="80540"/>
                </a:lnTo>
                <a:lnTo>
                  <a:pt x="149003" y="80161"/>
                </a:lnTo>
                <a:lnTo>
                  <a:pt x="157761" y="63488"/>
                </a:lnTo>
                <a:cubicBezTo>
                  <a:pt x="161502" y="59125"/>
                  <a:pt x="165889" y="56210"/>
                  <a:pt x="170589" y="55133"/>
                </a:cubicBezTo>
                <a:cubicBezTo>
                  <a:pt x="175763" y="53946"/>
                  <a:pt x="180933" y="55066"/>
                  <a:pt x="185602" y="58165"/>
                </a:cubicBezTo>
                <a:lnTo>
                  <a:pt x="197260" y="72632"/>
                </a:lnTo>
                <a:lnTo>
                  <a:pt x="197608" y="73064"/>
                </a:lnTo>
                <a:cubicBezTo>
                  <a:pt x="206751" y="55660"/>
                  <a:pt x="221874" y="49945"/>
                  <a:pt x="234854" y="58985"/>
                </a:cubicBezTo>
                <a:cubicBezTo>
                  <a:pt x="244745" y="65871"/>
                  <a:pt x="251837" y="80288"/>
                  <a:pt x="253742" y="97394"/>
                </a:cubicBezTo>
                <a:lnTo>
                  <a:pt x="253846" y="97489"/>
                </a:lnTo>
                <a:lnTo>
                  <a:pt x="268760" y="111086"/>
                </a:lnTo>
                <a:cubicBezTo>
                  <a:pt x="272928" y="117494"/>
                  <a:pt x="276130" y="125552"/>
                  <a:pt x="277982" y="134671"/>
                </a:cubicBezTo>
                <a:cubicBezTo>
                  <a:pt x="280675" y="147909"/>
                  <a:pt x="280291" y="162286"/>
                  <a:pt x="276897" y="175092"/>
                </a:cubicBezTo>
                <a:cubicBezTo>
                  <a:pt x="285240" y="192653"/>
                  <a:pt x="288157" y="215419"/>
                  <a:pt x="284823" y="236895"/>
                </a:cubicBezTo>
                <a:cubicBezTo>
                  <a:pt x="280390" y="265446"/>
                  <a:pt x="265717" y="286828"/>
                  <a:pt x="247695" y="290994"/>
                </a:cubicBezTo>
                <a:cubicBezTo>
                  <a:pt x="247609" y="308815"/>
                  <a:pt x="242760" y="325717"/>
                  <a:pt x="234404" y="337351"/>
                </a:cubicBezTo>
                <a:cubicBezTo>
                  <a:pt x="221709" y="355030"/>
                  <a:pt x="203370" y="357302"/>
                  <a:pt x="189153" y="342964"/>
                </a:cubicBezTo>
                <a:cubicBezTo>
                  <a:pt x="184555" y="367592"/>
                  <a:pt x="172243" y="386419"/>
                  <a:pt x="156815" y="392417"/>
                </a:cubicBezTo>
                <a:cubicBezTo>
                  <a:pt x="138635" y="399484"/>
                  <a:pt x="119661" y="387441"/>
                  <a:pt x="109268" y="362231"/>
                </a:cubicBezTo>
                <a:cubicBezTo>
                  <a:pt x="84737" y="386160"/>
                  <a:pt x="52876" y="372710"/>
                  <a:pt x="38639" y="332406"/>
                </a:cubicBezTo>
                <a:cubicBezTo>
                  <a:pt x="24653" y="335055"/>
                  <a:pt x="11521" y="321024"/>
                  <a:pt x="7584" y="299217"/>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2" name="직사각형 141"/>
          <p:cNvSpPr/>
          <p:nvPr/>
        </p:nvSpPr>
        <p:spPr>
          <a:xfrm>
            <a:off x="673894" y="2064644"/>
            <a:ext cx="423862" cy="2428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43" name="자유형 142"/>
          <p:cNvSpPr/>
          <p:nvPr/>
        </p:nvSpPr>
        <p:spPr>
          <a:xfrm rot="16200000">
            <a:off x="3343263" y="1598115"/>
            <a:ext cx="337059" cy="1262743"/>
          </a:xfrm>
          <a:custGeom>
            <a:avLst/>
            <a:gdLst>
              <a:gd name="connsiteX0" fmla="*/ 650429 w 650429"/>
              <a:gd name="connsiteY0" fmla="*/ 375680 h 2436733"/>
              <a:gd name="connsiteX1" fmla="*/ 650429 w 650429"/>
              <a:gd name="connsiteY1" fmla="*/ 1206794 h 2436733"/>
              <a:gd name="connsiteX2" fmla="*/ 566329 w 650429"/>
              <a:gd name="connsiteY2" fmla="*/ 1206794 h 2436733"/>
              <a:gd name="connsiteX3" fmla="*/ 566329 w 650429"/>
              <a:gd name="connsiteY3" fmla="*/ 2355851 h 2436733"/>
              <a:gd name="connsiteX4" fmla="*/ 468735 w 650429"/>
              <a:gd name="connsiteY4" fmla="*/ 2428127 h 2436733"/>
              <a:gd name="connsiteX5" fmla="*/ 110512 w 650429"/>
              <a:gd name="connsiteY5" fmla="*/ 2425204 h 2436733"/>
              <a:gd name="connsiteX6" fmla="*/ 55658 w 650429"/>
              <a:gd name="connsiteY6" fmla="*/ 2424951 h 2436733"/>
              <a:gd name="connsiteX7" fmla="*/ 55658 w 650429"/>
              <a:gd name="connsiteY7" fmla="*/ 2436733 h 2436733"/>
              <a:gd name="connsiteX8" fmla="*/ 14332 w 650429"/>
              <a:gd name="connsiteY8" fmla="*/ 2436733 h 2436733"/>
              <a:gd name="connsiteX9" fmla="*/ 14332 w 650429"/>
              <a:gd name="connsiteY9" fmla="*/ 2331564 h 2436733"/>
              <a:gd name="connsiteX10" fmla="*/ 55658 w 650429"/>
              <a:gd name="connsiteY10" fmla="*/ 2333723 h 2436733"/>
              <a:gd name="connsiteX11" fmla="*/ 55658 w 650429"/>
              <a:gd name="connsiteY11" fmla="*/ 2347392 h 2436733"/>
              <a:gd name="connsiteX12" fmla="*/ 212060 w 650429"/>
              <a:gd name="connsiteY12" fmla="*/ 2347870 h 2436733"/>
              <a:gd name="connsiteX13" fmla="*/ 402857 w 650429"/>
              <a:gd name="connsiteY13" fmla="*/ 2346292 h 2436733"/>
              <a:gd name="connsiteX14" fmla="*/ 463537 w 650429"/>
              <a:gd name="connsiteY14" fmla="*/ 2316806 h 2436733"/>
              <a:gd name="connsiteX15" fmla="*/ 468740 w 650429"/>
              <a:gd name="connsiteY15" fmla="*/ 1204958 h 2436733"/>
              <a:gd name="connsiteX16" fmla="*/ 322067 w 650429"/>
              <a:gd name="connsiteY16" fmla="*/ 1205735 h 2436733"/>
              <a:gd name="connsiteX17" fmla="*/ 319462 w 650429"/>
              <a:gd name="connsiteY17" fmla="*/ 1563289 h 2436733"/>
              <a:gd name="connsiteX18" fmla="*/ 319086 w 650429"/>
              <a:gd name="connsiteY18" fmla="*/ 2036345 h 2436733"/>
              <a:gd name="connsiteX19" fmla="*/ 242212 w 650429"/>
              <a:gd name="connsiteY19" fmla="*/ 2093348 h 2436733"/>
              <a:gd name="connsiteX20" fmla="*/ 68749 w 650429"/>
              <a:gd name="connsiteY20" fmla="*/ 2094834 h 2436733"/>
              <a:gd name="connsiteX21" fmla="*/ 68749 w 650429"/>
              <a:gd name="connsiteY21" fmla="*/ 2119322 h 2436733"/>
              <a:gd name="connsiteX22" fmla="*/ 0 w 650429"/>
              <a:gd name="connsiteY22" fmla="*/ 2119322 h 2436733"/>
              <a:gd name="connsiteX23" fmla="*/ 0 w 650429"/>
              <a:gd name="connsiteY23" fmla="*/ 1988871 h 2436733"/>
              <a:gd name="connsiteX24" fmla="*/ 68749 w 650429"/>
              <a:gd name="connsiteY24" fmla="*/ 1988871 h 2436733"/>
              <a:gd name="connsiteX25" fmla="*/ 68749 w 650429"/>
              <a:gd name="connsiteY25" fmla="*/ 2012868 h 2436733"/>
              <a:gd name="connsiteX26" fmla="*/ 183355 w 650429"/>
              <a:gd name="connsiteY26" fmla="*/ 2012532 h 2436733"/>
              <a:gd name="connsiteX27" fmla="*/ 229307 w 650429"/>
              <a:gd name="connsiteY27" fmla="*/ 1985265 h 2436733"/>
              <a:gd name="connsiteX28" fmla="*/ 229922 w 650429"/>
              <a:gd name="connsiteY28" fmla="*/ 1563783 h 2436733"/>
              <a:gd name="connsiteX29" fmla="*/ 229922 w 650429"/>
              <a:gd name="connsiteY29" fmla="*/ 1206794 h 2436733"/>
              <a:gd name="connsiteX30" fmla="*/ 173853 w 650429"/>
              <a:gd name="connsiteY30" fmla="*/ 1206794 h 2436733"/>
              <a:gd name="connsiteX31" fmla="*/ 168649 w 650429"/>
              <a:gd name="connsiteY31" fmla="*/ 368833 h 2436733"/>
              <a:gd name="connsiteX32" fmla="*/ 220579 w 650429"/>
              <a:gd name="connsiteY32" fmla="*/ 368831 h 2436733"/>
              <a:gd name="connsiteX33" fmla="*/ 220579 w 650429"/>
              <a:gd name="connsiteY33" fmla="*/ 24668 h 2436733"/>
              <a:gd name="connsiteX34" fmla="*/ 196119 w 650429"/>
              <a:gd name="connsiteY34" fmla="*/ 24668 h 2436733"/>
              <a:gd name="connsiteX35" fmla="*/ 196119 w 650429"/>
              <a:gd name="connsiteY35" fmla="*/ 0 h 2436733"/>
              <a:gd name="connsiteX36" fmla="*/ 357833 w 650429"/>
              <a:gd name="connsiteY36" fmla="*/ 0 h 2436733"/>
              <a:gd name="connsiteX37" fmla="*/ 357833 w 650429"/>
              <a:gd name="connsiteY37" fmla="*/ 24668 h 2436733"/>
              <a:gd name="connsiteX38" fmla="*/ 332714 w 650429"/>
              <a:gd name="connsiteY38" fmla="*/ 24668 h 2436733"/>
              <a:gd name="connsiteX39" fmla="*/ 332714 w 650429"/>
              <a:gd name="connsiteY39" fmla="*/ 373206 h 2436733"/>
              <a:gd name="connsiteX40" fmla="*/ 447926 w 650429"/>
              <a:gd name="connsiteY40" fmla="*/ 373206 h 2436733"/>
              <a:gd name="connsiteX41" fmla="*/ 446031 w 650429"/>
              <a:gd name="connsiteY41" fmla="*/ 24668 h 2436733"/>
              <a:gd name="connsiteX42" fmla="*/ 424450 w 650429"/>
              <a:gd name="connsiteY42" fmla="*/ 24668 h 2436733"/>
              <a:gd name="connsiteX43" fmla="*/ 424450 w 650429"/>
              <a:gd name="connsiteY43" fmla="*/ 0 h 2436733"/>
              <a:gd name="connsiteX44" fmla="*/ 586164 w 650429"/>
              <a:gd name="connsiteY44" fmla="*/ 0 h 2436733"/>
              <a:gd name="connsiteX45" fmla="*/ 586164 w 650429"/>
              <a:gd name="connsiteY45" fmla="*/ 24668 h 2436733"/>
              <a:gd name="connsiteX46" fmla="*/ 561425 w 650429"/>
              <a:gd name="connsiteY46" fmla="*/ 24668 h 2436733"/>
              <a:gd name="connsiteX47" fmla="*/ 566329 w 650429"/>
              <a:gd name="connsiteY47" fmla="*/ 375680 h 243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50429" h="2436733">
                <a:moveTo>
                  <a:pt x="650429" y="375680"/>
                </a:moveTo>
                <a:lnTo>
                  <a:pt x="650429" y="1206794"/>
                </a:lnTo>
                <a:lnTo>
                  <a:pt x="566329" y="1206794"/>
                </a:lnTo>
                <a:lnTo>
                  <a:pt x="566329" y="2355851"/>
                </a:lnTo>
                <a:cubicBezTo>
                  <a:pt x="560540" y="2414632"/>
                  <a:pt x="525686" y="2427444"/>
                  <a:pt x="468735" y="2428127"/>
                </a:cubicBezTo>
                <a:lnTo>
                  <a:pt x="110512" y="2425204"/>
                </a:lnTo>
                <a:lnTo>
                  <a:pt x="55658" y="2424951"/>
                </a:lnTo>
                <a:lnTo>
                  <a:pt x="55658" y="2436733"/>
                </a:lnTo>
                <a:lnTo>
                  <a:pt x="14332" y="2436733"/>
                </a:lnTo>
                <a:lnTo>
                  <a:pt x="14332" y="2331564"/>
                </a:lnTo>
                <a:lnTo>
                  <a:pt x="55658" y="2333723"/>
                </a:lnTo>
                <a:lnTo>
                  <a:pt x="55658" y="2347392"/>
                </a:lnTo>
                <a:lnTo>
                  <a:pt x="212060" y="2347870"/>
                </a:lnTo>
                <a:lnTo>
                  <a:pt x="402857" y="2346292"/>
                </a:lnTo>
                <a:cubicBezTo>
                  <a:pt x="446503" y="2345233"/>
                  <a:pt x="458922" y="2343494"/>
                  <a:pt x="463537" y="2316806"/>
                </a:cubicBezTo>
                <a:cubicBezTo>
                  <a:pt x="465271" y="1946190"/>
                  <a:pt x="467006" y="1575574"/>
                  <a:pt x="468740" y="1204958"/>
                </a:cubicBezTo>
                <a:cubicBezTo>
                  <a:pt x="420284" y="1205993"/>
                  <a:pt x="343047" y="1206591"/>
                  <a:pt x="322067" y="1205735"/>
                </a:cubicBezTo>
                <a:cubicBezTo>
                  <a:pt x="320608" y="1211872"/>
                  <a:pt x="319462" y="1440997"/>
                  <a:pt x="319462" y="1563289"/>
                </a:cubicBezTo>
                <a:cubicBezTo>
                  <a:pt x="318965" y="1704898"/>
                  <a:pt x="318864" y="1947605"/>
                  <a:pt x="319086" y="2036345"/>
                </a:cubicBezTo>
                <a:cubicBezTo>
                  <a:pt x="314545" y="2084602"/>
                  <a:pt x="278604" y="2090276"/>
                  <a:pt x="242212" y="2093348"/>
                </a:cubicBezTo>
                <a:lnTo>
                  <a:pt x="68749" y="2094834"/>
                </a:lnTo>
                <a:lnTo>
                  <a:pt x="68749" y="2119322"/>
                </a:lnTo>
                <a:lnTo>
                  <a:pt x="0" y="2119322"/>
                </a:lnTo>
                <a:lnTo>
                  <a:pt x="0" y="1988871"/>
                </a:lnTo>
                <a:lnTo>
                  <a:pt x="68749" y="1988871"/>
                </a:lnTo>
                <a:lnTo>
                  <a:pt x="68749" y="2012868"/>
                </a:lnTo>
                <a:lnTo>
                  <a:pt x="183355" y="2012532"/>
                </a:lnTo>
                <a:cubicBezTo>
                  <a:pt x="212959" y="2012968"/>
                  <a:pt x="225895" y="2003879"/>
                  <a:pt x="229307" y="1985265"/>
                </a:cubicBezTo>
                <a:cubicBezTo>
                  <a:pt x="229512" y="1845565"/>
                  <a:pt x="229718" y="1703483"/>
                  <a:pt x="229922" y="1563783"/>
                </a:cubicBezTo>
                <a:lnTo>
                  <a:pt x="229922" y="1206794"/>
                </a:lnTo>
                <a:lnTo>
                  <a:pt x="173853" y="1206794"/>
                </a:lnTo>
                <a:cubicBezTo>
                  <a:pt x="172118" y="927474"/>
                  <a:pt x="170384" y="648154"/>
                  <a:pt x="168649" y="368833"/>
                </a:cubicBezTo>
                <a:lnTo>
                  <a:pt x="220579" y="368831"/>
                </a:lnTo>
                <a:lnTo>
                  <a:pt x="220579" y="24668"/>
                </a:lnTo>
                <a:lnTo>
                  <a:pt x="196119" y="24668"/>
                </a:lnTo>
                <a:lnTo>
                  <a:pt x="196119" y="0"/>
                </a:lnTo>
                <a:lnTo>
                  <a:pt x="357833" y="0"/>
                </a:lnTo>
                <a:lnTo>
                  <a:pt x="357833" y="24668"/>
                </a:lnTo>
                <a:lnTo>
                  <a:pt x="332714" y="24668"/>
                </a:lnTo>
                <a:lnTo>
                  <a:pt x="332714" y="373206"/>
                </a:lnTo>
                <a:lnTo>
                  <a:pt x="447926" y="373206"/>
                </a:lnTo>
                <a:lnTo>
                  <a:pt x="446031" y="24668"/>
                </a:lnTo>
                <a:lnTo>
                  <a:pt x="424450" y="24668"/>
                </a:lnTo>
                <a:lnTo>
                  <a:pt x="424450" y="0"/>
                </a:lnTo>
                <a:lnTo>
                  <a:pt x="586164" y="0"/>
                </a:lnTo>
                <a:lnTo>
                  <a:pt x="586164" y="24668"/>
                </a:lnTo>
                <a:lnTo>
                  <a:pt x="561425" y="24668"/>
                </a:lnTo>
                <a:cubicBezTo>
                  <a:pt x="563060" y="141672"/>
                  <a:pt x="564695" y="258676"/>
                  <a:pt x="566329" y="37568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4" name="자유형 143"/>
          <p:cNvSpPr/>
          <p:nvPr/>
        </p:nvSpPr>
        <p:spPr>
          <a:xfrm rot="6300000">
            <a:off x="2616697" y="2182579"/>
            <a:ext cx="156895" cy="174530"/>
          </a:xfrm>
          <a:custGeom>
            <a:avLst/>
            <a:gdLst>
              <a:gd name="connsiteX0" fmla="*/ 7584 w 286172"/>
              <a:gd name="connsiteY0" fmla="*/ 299217 h 394416"/>
              <a:gd name="connsiteX1" fmla="*/ 14220 w 286172"/>
              <a:gd name="connsiteY1" fmla="*/ 254417 h 394416"/>
              <a:gd name="connsiteX2" fmla="*/ 208 w 286172"/>
              <a:gd name="connsiteY2" fmla="*/ 208454 h 394416"/>
              <a:gd name="connsiteX3" fmla="*/ 25798 w 286172"/>
              <a:gd name="connsiteY3" fmla="*/ 167600 h 394416"/>
              <a:gd name="connsiteX4" fmla="*/ 26042 w 286172"/>
              <a:gd name="connsiteY4" fmla="*/ 166524 h 394416"/>
              <a:gd name="connsiteX5" fmla="*/ 37441 w 286172"/>
              <a:gd name="connsiteY5" fmla="*/ 107857 h 394416"/>
              <a:gd name="connsiteX6" fmla="*/ 63706 w 286172"/>
              <a:gd name="connsiteY6" fmla="*/ 85337 h 394416"/>
              <a:gd name="connsiteX7" fmla="*/ 79009 w 286172"/>
              <a:gd name="connsiteY7" fmla="*/ 90117 h 394416"/>
              <a:gd name="connsiteX8" fmla="*/ 46666 w 286172"/>
              <a:gd name="connsiteY8" fmla="*/ 23051 h 394416"/>
              <a:gd name="connsiteX9" fmla="*/ 141897 w 286172"/>
              <a:gd name="connsiteY9" fmla="*/ 0 h 394416"/>
              <a:gd name="connsiteX10" fmla="*/ 148254 w 286172"/>
              <a:gd name="connsiteY10" fmla="*/ 80136 h 394416"/>
              <a:gd name="connsiteX11" fmla="*/ 148804 w 286172"/>
              <a:gd name="connsiteY11" fmla="*/ 80540 h 394416"/>
              <a:gd name="connsiteX12" fmla="*/ 149003 w 286172"/>
              <a:gd name="connsiteY12" fmla="*/ 80161 h 394416"/>
              <a:gd name="connsiteX13" fmla="*/ 157761 w 286172"/>
              <a:gd name="connsiteY13" fmla="*/ 63488 h 394416"/>
              <a:gd name="connsiteX14" fmla="*/ 170589 w 286172"/>
              <a:gd name="connsiteY14" fmla="*/ 55133 h 394416"/>
              <a:gd name="connsiteX15" fmla="*/ 185602 w 286172"/>
              <a:gd name="connsiteY15" fmla="*/ 58165 h 394416"/>
              <a:gd name="connsiteX16" fmla="*/ 197260 w 286172"/>
              <a:gd name="connsiteY16" fmla="*/ 72632 h 394416"/>
              <a:gd name="connsiteX17" fmla="*/ 197608 w 286172"/>
              <a:gd name="connsiteY17" fmla="*/ 73064 h 394416"/>
              <a:gd name="connsiteX18" fmla="*/ 234854 w 286172"/>
              <a:gd name="connsiteY18" fmla="*/ 58985 h 394416"/>
              <a:gd name="connsiteX19" fmla="*/ 253742 w 286172"/>
              <a:gd name="connsiteY19" fmla="*/ 97394 h 394416"/>
              <a:gd name="connsiteX20" fmla="*/ 253846 w 286172"/>
              <a:gd name="connsiteY20" fmla="*/ 97489 h 394416"/>
              <a:gd name="connsiteX21" fmla="*/ 268760 w 286172"/>
              <a:gd name="connsiteY21" fmla="*/ 111086 h 394416"/>
              <a:gd name="connsiteX22" fmla="*/ 277982 w 286172"/>
              <a:gd name="connsiteY22" fmla="*/ 134671 h 394416"/>
              <a:gd name="connsiteX23" fmla="*/ 276897 w 286172"/>
              <a:gd name="connsiteY23" fmla="*/ 175092 h 394416"/>
              <a:gd name="connsiteX24" fmla="*/ 284823 w 286172"/>
              <a:gd name="connsiteY24" fmla="*/ 236895 h 394416"/>
              <a:gd name="connsiteX25" fmla="*/ 247695 w 286172"/>
              <a:gd name="connsiteY25" fmla="*/ 290994 h 394416"/>
              <a:gd name="connsiteX26" fmla="*/ 234404 w 286172"/>
              <a:gd name="connsiteY26" fmla="*/ 337351 h 394416"/>
              <a:gd name="connsiteX27" fmla="*/ 189153 w 286172"/>
              <a:gd name="connsiteY27" fmla="*/ 342964 h 394416"/>
              <a:gd name="connsiteX28" fmla="*/ 156815 w 286172"/>
              <a:gd name="connsiteY28" fmla="*/ 392417 h 394416"/>
              <a:gd name="connsiteX29" fmla="*/ 109268 w 286172"/>
              <a:gd name="connsiteY29" fmla="*/ 362231 h 394416"/>
              <a:gd name="connsiteX30" fmla="*/ 38639 w 286172"/>
              <a:gd name="connsiteY30" fmla="*/ 332406 h 394416"/>
              <a:gd name="connsiteX31" fmla="*/ 7584 w 286172"/>
              <a:gd name="connsiteY31" fmla="*/ 299217 h 3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6172" h="394416">
                <a:moveTo>
                  <a:pt x="7584" y="299217"/>
                </a:moveTo>
                <a:cubicBezTo>
                  <a:pt x="4733" y="283440"/>
                  <a:pt x="7254" y="266413"/>
                  <a:pt x="14220" y="254417"/>
                </a:cubicBezTo>
                <a:cubicBezTo>
                  <a:pt x="4336" y="245008"/>
                  <a:pt x="-1168" y="226951"/>
                  <a:pt x="208" y="208454"/>
                </a:cubicBezTo>
                <a:cubicBezTo>
                  <a:pt x="1822" y="186797"/>
                  <a:pt x="12447" y="169833"/>
                  <a:pt x="25798" y="167600"/>
                </a:cubicBezTo>
                <a:cubicBezTo>
                  <a:pt x="25877" y="167239"/>
                  <a:pt x="25963" y="166885"/>
                  <a:pt x="26042" y="166524"/>
                </a:cubicBezTo>
                <a:cubicBezTo>
                  <a:pt x="24249" y="145197"/>
                  <a:pt x="28431" y="123689"/>
                  <a:pt x="37441" y="107857"/>
                </a:cubicBezTo>
                <a:cubicBezTo>
                  <a:pt x="44560" y="95354"/>
                  <a:pt x="53890" y="87709"/>
                  <a:pt x="63706" y="85337"/>
                </a:cubicBezTo>
                <a:lnTo>
                  <a:pt x="79009" y="90117"/>
                </a:lnTo>
                <a:lnTo>
                  <a:pt x="46666" y="23051"/>
                </a:lnTo>
                <a:cubicBezTo>
                  <a:pt x="73861" y="16586"/>
                  <a:pt x="114703" y="6465"/>
                  <a:pt x="141897" y="0"/>
                </a:cubicBezTo>
                <a:lnTo>
                  <a:pt x="148254" y="80136"/>
                </a:lnTo>
                <a:lnTo>
                  <a:pt x="148804" y="80540"/>
                </a:lnTo>
                <a:lnTo>
                  <a:pt x="149003" y="80161"/>
                </a:lnTo>
                <a:lnTo>
                  <a:pt x="157761" y="63488"/>
                </a:lnTo>
                <a:cubicBezTo>
                  <a:pt x="161502" y="59125"/>
                  <a:pt x="165889" y="56210"/>
                  <a:pt x="170589" y="55133"/>
                </a:cubicBezTo>
                <a:cubicBezTo>
                  <a:pt x="175763" y="53946"/>
                  <a:pt x="180933" y="55066"/>
                  <a:pt x="185602" y="58165"/>
                </a:cubicBezTo>
                <a:lnTo>
                  <a:pt x="197260" y="72632"/>
                </a:lnTo>
                <a:lnTo>
                  <a:pt x="197608" y="73064"/>
                </a:lnTo>
                <a:cubicBezTo>
                  <a:pt x="206751" y="55660"/>
                  <a:pt x="221874" y="49945"/>
                  <a:pt x="234854" y="58985"/>
                </a:cubicBezTo>
                <a:cubicBezTo>
                  <a:pt x="244745" y="65871"/>
                  <a:pt x="251837" y="80288"/>
                  <a:pt x="253742" y="97394"/>
                </a:cubicBezTo>
                <a:lnTo>
                  <a:pt x="253846" y="97489"/>
                </a:lnTo>
                <a:lnTo>
                  <a:pt x="268760" y="111086"/>
                </a:lnTo>
                <a:cubicBezTo>
                  <a:pt x="272928" y="117494"/>
                  <a:pt x="276130" y="125552"/>
                  <a:pt x="277982" y="134671"/>
                </a:cubicBezTo>
                <a:cubicBezTo>
                  <a:pt x="280675" y="147909"/>
                  <a:pt x="280291" y="162286"/>
                  <a:pt x="276897" y="175092"/>
                </a:cubicBezTo>
                <a:cubicBezTo>
                  <a:pt x="285240" y="192653"/>
                  <a:pt x="288157" y="215419"/>
                  <a:pt x="284823" y="236895"/>
                </a:cubicBezTo>
                <a:cubicBezTo>
                  <a:pt x="280390" y="265446"/>
                  <a:pt x="265717" y="286828"/>
                  <a:pt x="247695" y="290994"/>
                </a:cubicBezTo>
                <a:cubicBezTo>
                  <a:pt x="247609" y="308815"/>
                  <a:pt x="242760" y="325717"/>
                  <a:pt x="234404" y="337351"/>
                </a:cubicBezTo>
                <a:cubicBezTo>
                  <a:pt x="221709" y="355030"/>
                  <a:pt x="203370" y="357302"/>
                  <a:pt x="189153" y="342964"/>
                </a:cubicBezTo>
                <a:cubicBezTo>
                  <a:pt x="184555" y="367592"/>
                  <a:pt x="172243" y="386419"/>
                  <a:pt x="156815" y="392417"/>
                </a:cubicBezTo>
                <a:cubicBezTo>
                  <a:pt x="138635" y="399484"/>
                  <a:pt x="119661" y="387441"/>
                  <a:pt x="109268" y="362231"/>
                </a:cubicBezTo>
                <a:cubicBezTo>
                  <a:pt x="84737" y="386160"/>
                  <a:pt x="52876" y="372710"/>
                  <a:pt x="38639" y="332406"/>
                </a:cubicBezTo>
                <a:cubicBezTo>
                  <a:pt x="24653" y="335055"/>
                  <a:pt x="11521" y="321024"/>
                  <a:pt x="7584" y="299217"/>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5" name="TextBox 144"/>
          <p:cNvSpPr txBox="1"/>
          <p:nvPr/>
        </p:nvSpPr>
        <p:spPr>
          <a:xfrm>
            <a:off x="1600318" y="2189335"/>
            <a:ext cx="976418" cy="230832"/>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900" dirty="0">
                <a:solidFill>
                  <a:prstClr val="black">
                    <a:lumMod val="65000"/>
                    <a:lumOff val="35000"/>
                  </a:prstClr>
                </a:solidFill>
                <a:latin typeface="Arial" panose="020B0604020202020204" pitchFamily="34" charset="0"/>
                <a:cs typeface="Arial" panose="020B0604020202020204" pitchFamily="34" charset="0"/>
              </a:rPr>
              <a:t>A/C</a:t>
            </a:r>
            <a:endParaRPr lang="ko-KR" altLang="en-US" sz="9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6" name="TextBox 145"/>
          <p:cNvSpPr txBox="1"/>
          <p:nvPr/>
        </p:nvSpPr>
        <p:spPr>
          <a:xfrm>
            <a:off x="391782" y="2105382"/>
            <a:ext cx="976418" cy="230832"/>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900" dirty="0">
                <a:solidFill>
                  <a:prstClr val="black">
                    <a:lumMod val="65000"/>
                    <a:lumOff val="35000"/>
                  </a:prstClr>
                </a:solidFill>
                <a:latin typeface="Arial" panose="020B0604020202020204" pitchFamily="34" charset="0"/>
                <a:cs typeface="Arial" panose="020B0604020202020204" pitchFamily="34" charset="0"/>
              </a:rPr>
              <a:t>ERV</a:t>
            </a:r>
            <a:endParaRPr lang="ko-KR" altLang="en-US" sz="9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7" name="TextBox 146"/>
          <p:cNvSpPr txBox="1"/>
          <p:nvPr/>
        </p:nvSpPr>
        <p:spPr>
          <a:xfrm>
            <a:off x="2922680" y="2073869"/>
            <a:ext cx="976418" cy="230832"/>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ko-KR" altLang="en-US" sz="900" dirty="0">
                <a:solidFill>
                  <a:prstClr val="black">
                    <a:lumMod val="65000"/>
                    <a:lumOff val="35000"/>
                  </a:prstClr>
                </a:solidFill>
                <a:latin typeface="Arial" panose="020B0604020202020204" pitchFamily="34" charset="0"/>
                <a:cs typeface="Arial" panose="020B0604020202020204" pitchFamily="34" charset="0"/>
              </a:rPr>
              <a:t>에어컨</a:t>
            </a:r>
          </a:p>
        </p:txBody>
      </p:sp>
      <p:sp>
        <p:nvSpPr>
          <p:cNvPr id="148" name="직사각형 147"/>
          <p:cNvSpPr/>
          <p:nvPr/>
        </p:nvSpPr>
        <p:spPr>
          <a:xfrm>
            <a:off x="3087930" y="2064644"/>
            <a:ext cx="423862" cy="2428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49" name="TextBox 148"/>
          <p:cNvSpPr txBox="1"/>
          <p:nvPr/>
        </p:nvSpPr>
        <p:spPr>
          <a:xfrm>
            <a:off x="2799740" y="2105382"/>
            <a:ext cx="976418" cy="230832"/>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900" dirty="0">
                <a:solidFill>
                  <a:prstClr val="black">
                    <a:lumMod val="65000"/>
                    <a:lumOff val="35000"/>
                  </a:prstClr>
                </a:solidFill>
                <a:latin typeface="Arial" panose="020B0604020202020204" pitchFamily="34" charset="0"/>
                <a:cs typeface="Arial" panose="020B0604020202020204" pitchFamily="34" charset="0"/>
              </a:rPr>
              <a:t>ERV</a:t>
            </a:r>
            <a:endParaRPr lang="ko-KR" altLang="en-US" sz="9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50" name="자유형 149"/>
          <p:cNvSpPr/>
          <p:nvPr/>
        </p:nvSpPr>
        <p:spPr>
          <a:xfrm>
            <a:off x="2847810" y="2127792"/>
            <a:ext cx="1314522" cy="332505"/>
          </a:xfrm>
          <a:custGeom>
            <a:avLst/>
            <a:gdLst>
              <a:gd name="connsiteX0" fmla="*/ 26590 w 2153799"/>
              <a:gd name="connsiteY0" fmla="*/ 0 h 413532"/>
              <a:gd name="connsiteX1" fmla="*/ 2097410 w 2153799"/>
              <a:gd name="connsiteY1" fmla="*/ 0 h 413532"/>
              <a:gd name="connsiteX2" fmla="*/ 2116212 w 2153799"/>
              <a:gd name="connsiteY2" fmla="*/ 7788 h 413532"/>
              <a:gd name="connsiteX3" fmla="*/ 2122667 w 2153799"/>
              <a:gd name="connsiteY3" fmla="*/ 23372 h 413532"/>
              <a:gd name="connsiteX4" fmla="*/ 2123030 w 2153799"/>
              <a:gd name="connsiteY4" fmla="*/ 23372 h 413532"/>
              <a:gd name="connsiteX5" fmla="*/ 2123030 w 2153799"/>
              <a:gd name="connsiteY5" fmla="*/ 24248 h 413532"/>
              <a:gd name="connsiteX6" fmla="*/ 2124000 w 2153799"/>
              <a:gd name="connsiteY6" fmla="*/ 26590 h 413532"/>
              <a:gd name="connsiteX7" fmla="*/ 2123030 w 2153799"/>
              <a:gd name="connsiteY7" fmla="*/ 28932 h 413532"/>
              <a:gd name="connsiteX8" fmla="*/ 2123030 w 2153799"/>
              <a:gd name="connsiteY8" fmla="*/ 351993 h 413532"/>
              <a:gd name="connsiteX9" fmla="*/ 2153799 w 2153799"/>
              <a:gd name="connsiteY9" fmla="*/ 351993 h 413532"/>
              <a:gd name="connsiteX10" fmla="*/ 2092260 w 2153799"/>
              <a:gd name="connsiteY10" fmla="*/ 413532 h 413532"/>
              <a:gd name="connsiteX11" fmla="*/ 2030721 w 2153799"/>
              <a:gd name="connsiteY11" fmla="*/ 351993 h 413532"/>
              <a:gd name="connsiteX12" fmla="*/ 2061491 w 2153799"/>
              <a:gd name="connsiteY12" fmla="*/ 351993 h 413532"/>
              <a:gd name="connsiteX13" fmla="*/ 2061491 w 2153799"/>
              <a:gd name="connsiteY13" fmla="*/ 53180 h 413532"/>
              <a:gd name="connsiteX14" fmla="*/ 26590 w 2153799"/>
              <a:gd name="connsiteY14" fmla="*/ 53180 h 413532"/>
              <a:gd name="connsiteX15" fmla="*/ 0 w 2153799"/>
              <a:gd name="connsiteY15" fmla="*/ 26590 h 413532"/>
              <a:gd name="connsiteX16" fmla="*/ 26590 w 2153799"/>
              <a:gd name="connsiteY16" fmla="*/ 0 h 4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3799" h="413532">
                <a:moveTo>
                  <a:pt x="26590" y="0"/>
                </a:moveTo>
                <a:lnTo>
                  <a:pt x="2097410" y="0"/>
                </a:lnTo>
                <a:cubicBezTo>
                  <a:pt x="2104753" y="0"/>
                  <a:pt x="2111400" y="2976"/>
                  <a:pt x="2116212" y="7788"/>
                </a:cubicBezTo>
                <a:lnTo>
                  <a:pt x="2122667" y="23372"/>
                </a:lnTo>
                <a:lnTo>
                  <a:pt x="2123030" y="23372"/>
                </a:lnTo>
                <a:lnTo>
                  <a:pt x="2123030" y="24248"/>
                </a:lnTo>
                <a:lnTo>
                  <a:pt x="2124000" y="26590"/>
                </a:lnTo>
                <a:lnTo>
                  <a:pt x="2123030" y="28932"/>
                </a:lnTo>
                <a:lnTo>
                  <a:pt x="2123030" y="351993"/>
                </a:lnTo>
                <a:lnTo>
                  <a:pt x="2153799" y="351993"/>
                </a:lnTo>
                <a:lnTo>
                  <a:pt x="2092260" y="413532"/>
                </a:lnTo>
                <a:lnTo>
                  <a:pt x="2030721" y="351993"/>
                </a:lnTo>
                <a:lnTo>
                  <a:pt x="2061491" y="351993"/>
                </a:lnTo>
                <a:lnTo>
                  <a:pt x="2061491" y="53180"/>
                </a:lnTo>
                <a:lnTo>
                  <a:pt x="26590" y="53180"/>
                </a:lnTo>
                <a:cubicBezTo>
                  <a:pt x="11905" y="53180"/>
                  <a:pt x="0" y="41275"/>
                  <a:pt x="0" y="26590"/>
                </a:cubicBezTo>
                <a:cubicBezTo>
                  <a:pt x="0" y="11905"/>
                  <a:pt x="11905" y="0"/>
                  <a:pt x="26590" y="0"/>
                </a:cubicBezTo>
                <a:close/>
              </a:path>
            </a:pathLst>
          </a:custGeom>
          <a:solidFill>
            <a:srgbClr val="C60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1" name="자유형 150"/>
          <p:cNvSpPr/>
          <p:nvPr/>
        </p:nvSpPr>
        <p:spPr>
          <a:xfrm rot="5400000" flipH="1">
            <a:off x="908908" y="1786829"/>
            <a:ext cx="186757" cy="1111661"/>
          </a:xfrm>
          <a:custGeom>
            <a:avLst/>
            <a:gdLst>
              <a:gd name="connsiteX0" fmla="*/ 706484 w 706484"/>
              <a:gd name="connsiteY0" fmla="*/ 2699123 h 2760662"/>
              <a:gd name="connsiteX1" fmla="*/ 675715 w 706484"/>
              <a:gd name="connsiteY1" fmla="*/ 2699123 h 2760662"/>
              <a:gd name="connsiteX2" fmla="*/ 675715 w 706484"/>
              <a:gd name="connsiteY2" fmla="*/ 29991 h 2760662"/>
              <a:gd name="connsiteX3" fmla="*/ 677124 w 706484"/>
              <a:gd name="connsiteY3" fmla="*/ 26590 h 2760662"/>
              <a:gd name="connsiteX4" fmla="*/ 650534 w 706484"/>
              <a:gd name="connsiteY4" fmla="*/ 0 h 2760662"/>
              <a:gd name="connsiteX5" fmla="*/ 26590 w 706484"/>
              <a:gd name="connsiteY5" fmla="*/ 0 h 2760662"/>
              <a:gd name="connsiteX6" fmla="*/ 0 w 706484"/>
              <a:gd name="connsiteY6" fmla="*/ 26590 h 2760662"/>
              <a:gd name="connsiteX7" fmla="*/ 26590 w 706484"/>
              <a:gd name="connsiteY7" fmla="*/ 53181 h 2760662"/>
              <a:gd name="connsiteX8" fmla="*/ 614176 w 706484"/>
              <a:gd name="connsiteY8" fmla="*/ 53181 h 2760662"/>
              <a:gd name="connsiteX9" fmla="*/ 614176 w 706484"/>
              <a:gd name="connsiteY9" fmla="*/ 2699123 h 2760662"/>
              <a:gd name="connsiteX10" fmla="*/ 583406 w 706484"/>
              <a:gd name="connsiteY10" fmla="*/ 2699123 h 2760662"/>
              <a:gd name="connsiteX11" fmla="*/ 644945 w 706484"/>
              <a:gd name="connsiteY11" fmla="*/ 2760662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484" h="2760662">
                <a:moveTo>
                  <a:pt x="706484" y="2699123"/>
                </a:moveTo>
                <a:lnTo>
                  <a:pt x="675715" y="2699123"/>
                </a:lnTo>
                <a:lnTo>
                  <a:pt x="675715" y="29991"/>
                </a:lnTo>
                <a:lnTo>
                  <a:pt x="677124" y="26590"/>
                </a:lnTo>
                <a:cubicBezTo>
                  <a:pt x="677124" y="11905"/>
                  <a:pt x="665219" y="0"/>
                  <a:pt x="650534" y="0"/>
                </a:cubicBezTo>
                <a:lnTo>
                  <a:pt x="26590" y="0"/>
                </a:lnTo>
                <a:cubicBezTo>
                  <a:pt x="11905" y="0"/>
                  <a:pt x="0" y="11905"/>
                  <a:pt x="0" y="26590"/>
                </a:cubicBezTo>
                <a:cubicBezTo>
                  <a:pt x="0" y="41276"/>
                  <a:pt x="11905" y="53181"/>
                  <a:pt x="26590" y="53181"/>
                </a:cubicBezTo>
                <a:lnTo>
                  <a:pt x="614176" y="53181"/>
                </a:lnTo>
                <a:lnTo>
                  <a:pt x="614176" y="2699123"/>
                </a:lnTo>
                <a:lnTo>
                  <a:pt x="583406" y="2699123"/>
                </a:lnTo>
                <a:lnTo>
                  <a:pt x="644945" y="2760662"/>
                </a:lnTo>
                <a:close/>
              </a:path>
            </a:pathLst>
          </a:custGeom>
          <a:solidFill>
            <a:srgbClr val="C0000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2" name="자유형 151"/>
          <p:cNvSpPr/>
          <p:nvPr/>
        </p:nvSpPr>
        <p:spPr>
          <a:xfrm>
            <a:off x="449392" y="2127792"/>
            <a:ext cx="1314522" cy="332505"/>
          </a:xfrm>
          <a:custGeom>
            <a:avLst/>
            <a:gdLst>
              <a:gd name="connsiteX0" fmla="*/ 26590 w 2153799"/>
              <a:gd name="connsiteY0" fmla="*/ 0 h 413532"/>
              <a:gd name="connsiteX1" fmla="*/ 2097410 w 2153799"/>
              <a:gd name="connsiteY1" fmla="*/ 0 h 413532"/>
              <a:gd name="connsiteX2" fmla="*/ 2116212 w 2153799"/>
              <a:gd name="connsiteY2" fmla="*/ 7788 h 413532"/>
              <a:gd name="connsiteX3" fmla="*/ 2122667 w 2153799"/>
              <a:gd name="connsiteY3" fmla="*/ 23372 h 413532"/>
              <a:gd name="connsiteX4" fmla="*/ 2123030 w 2153799"/>
              <a:gd name="connsiteY4" fmla="*/ 23372 h 413532"/>
              <a:gd name="connsiteX5" fmla="*/ 2123030 w 2153799"/>
              <a:gd name="connsiteY5" fmla="*/ 24248 h 413532"/>
              <a:gd name="connsiteX6" fmla="*/ 2124000 w 2153799"/>
              <a:gd name="connsiteY6" fmla="*/ 26590 h 413532"/>
              <a:gd name="connsiteX7" fmla="*/ 2123030 w 2153799"/>
              <a:gd name="connsiteY7" fmla="*/ 28932 h 413532"/>
              <a:gd name="connsiteX8" fmla="*/ 2123030 w 2153799"/>
              <a:gd name="connsiteY8" fmla="*/ 351993 h 413532"/>
              <a:gd name="connsiteX9" fmla="*/ 2153799 w 2153799"/>
              <a:gd name="connsiteY9" fmla="*/ 351993 h 413532"/>
              <a:gd name="connsiteX10" fmla="*/ 2092260 w 2153799"/>
              <a:gd name="connsiteY10" fmla="*/ 413532 h 413532"/>
              <a:gd name="connsiteX11" fmla="*/ 2030721 w 2153799"/>
              <a:gd name="connsiteY11" fmla="*/ 351993 h 413532"/>
              <a:gd name="connsiteX12" fmla="*/ 2061491 w 2153799"/>
              <a:gd name="connsiteY12" fmla="*/ 351993 h 413532"/>
              <a:gd name="connsiteX13" fmla="*/ 2061491 w 2153799"/>
              <a:gd name="connsiteY13" fmla="*/ 53180 h 413532"/>
              <a:gd name="connsiteX14" fmla="*/ 26590 w 2153799"/>
              <a:gd name="connsiteY14" fmla="*/ 53180 h 413532"/>
              <a:gd name="connsiteX15" fmla="*/ 0 w 2153799"/>
              <a:gd name="connsiteY15" fmla="*/ 26590 h 413532"/>
              <a:gd name="connsiteX16" fmla="*/ 26590 w 2153799"/>
              <a:gd name="connsiteY16" fmla="*/ 0 h 4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3799" h="413532">
                <a:moveTo>
                  <a:pt x="26590" y="0"/>
                </a:moveTo>
                <a:lnTo>
                  <a:pt x="2097410" y="0"/>
                </a:lnTo>
                <a:cubicBezTo>
                  <a:pt x="2104753" y="0"/>
                  <a:pt x="2111400" y="2976"/>
                  <a:pt x="2116212" y="7788"/>
                </a:cubicBezTo>
                <a:lnTo>
                  <a:pt x="2122667" y="23372"/>
                </a:lnTo>
                <a:lnTo>
                  <a:pt x="2123030" y="23372"/>
                </a:lnTo>
                <a:lnTo>
                  <a:pt x="2123030" y="24248"/>
                </a:lnTo>
                <a:lnTo>
                  <a:pt x="2124000" y="26590"/>
                </a:lnTo>
                <a:lnTo>
                  <a:pt x="2123030" y="28932"/>
                </a:lnTo>
                <a:lnTo>
                  <a:pt x="2123030" y="351993"/>
                </a:lnTo>
                <a:lnTo>
                  <a:pt x="2153799" y="351993"/>
                </a:lnTo>
                <a:lnTo>
                  <a:pt x="2092260" y="413532"/>
                </a:lnTo>
                <a:lnTo>
                  <a:pt x="2030721" y="351993"/>
                </a:lnTo>
                <a:lnTo>
                  <a:pt x="2061491" y="351993"/>
                </a:lnTo>
                <a:lnTo>
                  <a:pt x="2061491" y="53180"/>
                </a:lnTo>
                <a:lnTo>
                  <a:pt x="26590" y="53180"/>
                </a:lnTo>
                <a:cubicBezTo>
                  <a:pt x="11905" y="53180"/>
                  <a:pt x="0" y="41275"/>
                  <a:pt x="0" y="26590"/>
                </a:cubicBezTo>
                <a:cubicBezTo>
                  <a:pt x="0" y="11905"/>
                  <a:pt x="11905" y="0"/>
                  <a:pt x="26590" y="0"/>
                </a:cubicBezTo>
                <a:close/>
              </a:path>
            </a:pathLst>
          </a:custGeom>
          <a:solidFill>
            <a:srgbClr val="C60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3" name="자유형 152"/>
          <p:cNvSpPr/>
          <p:nvPr/>
        </p:nvSpPr>
        <p:spPr>
          <a:xfrm rot="5400000" flipH="1">
            <a:off x="3305398" y="1786829"/>
            <a:ext cx="186757" cy="1111661"/>
          </a:xfrm>
          <a:custGeom>
            <a:avLst/>
            <a:gdLst>
              <a:gd name="connsiteX0" fmla="*/ 706484 w 706484"/>
              <a:gd name="connsiteY0" fmla="*/ 2699123 h 2760662"/>
              <a:gd name="connsiteX1" fmla="*/ 675715 w 706484"/>
              <a:gd name="connsiteY1" fmla="*/ 2699123 h 2760662"/>
              <a:gd name="connsiteX2" fmla="*/ 675715 w 706484"/>
              <a:gd name="connsiteY2" fmla="*/ 29991 h 2760662"/>
              <a:gd name="connsiteX3" fmla="*/ 677124 w 706484"/>
              <a:gd name="connsiteY3" fmla="*/ 26590 h 2760662"/>
              <a:gd name="connsiteX4" fmla="*/ 650534 w 706484"/>
              <a:gd name="connsiteY4" fmla="*/ 0 h 2760662"/>
              <a:gd name="connsiteX5" fmla="*/ 26590 w 706484"/>
              <a:gd name="connsiteY5" fmla="*/ 0 h 2760662"/>
              <a:gd name="connsiteX6" fmla="*/ 0 w 706484"/>
              <a:gd name="connsiteY6" fmla="*/ 26590 h 2760662"/>
              <a:gd name="connsiteX7" fmla="*/ 26590 w 706484"/>
              <a:gd name="connsiteY7" fmla="*/ 53181 h 2760662"/>
              <a:gd name="connsiteX8" fmla="*/ 614176 w 706484"/>
              <a:gd name="connsiteY8" fmla="*/ 53181 h 2760662"/>
              <a:gd name="connsiteX9" fmla="*/ 614176 w 706484"/>
              <a:gd name="connsiteY9" fmla="*/ 2699123 h 2760662"/>
              <a:gd name="connsiteX10" fmla="*/ 583406 w 706484"/>
              <a:gd name="connsiteY10" fmla="*/ 2699123 h 2760662"/>
              <a:gd name="connsiteX11" fmla="*/ 644945 w 706484"/>
              <a:gd name="connsiteY11" fmla="*/ 2760662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484" h="2760662">
                <a:moveTo>
                  <a:pt x="706484" y="2699123"/>
                </a:moveTo>
                <a:lnTo>
                  <a:pt x="675715" y="2699123"/>
                </a:lnTo>
                <a:lnTo>
                  <a:pt x="675715" y="29991"/>
                </a:lnTo>
                <a:lnTo>
                  <a:pt x="677124" y="26590"/>
                </a:lnTo>
                <a:cubicBezTo>
                  <a:pt x="677124" y="11905"/>
                  <a:pt x="665219" y="0"/>
                  <a:pt x="650534" y="0"/>
                </a:cubicBezTo>
                <a:lnTo>
                  <a:pt x="26590" y="0"/>
                </a:lnTo>
                <a:cubicBezTo>
                  <a:pt x="11905" y="0"/>
                  <a:pt x="0" y="11905"/>
                  <a:pt x="0" y="26590"/>
                </a:cubicBezTo>
                <a:cubicBezTo>
                  <a:pt x="0" y="41276"/>
                  <a:pt x="11905" y="53181"/>
                  <a:pt x="26590" y="53181"/>
                </a:cubicBezTo>
                <a:lnTo>
                  <a:pt x="614176" y="53181"/>
                </a:lnTo>
                <a:lnTo>
                  <a:pt x="614176" y="2699123"/>
                </a:lnTo>
                <a:lnTo>
                  <a:pt x="583406" y="2699123"/>
                </a:lnTo>
                <a:lnTo>
                  <a:pt x="644945" y="2760662"/>
                </a:lnTo>
                <a:close/>
              </a:path>
            </a:pathLst>
          </a:custGeom>
          <a:solidFill>
            <a:srgbClr val="C0000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55" name="그룹 154"/>
          <p:cNvGrpSpPr/>
          <p:nvPr/>
        </p:nvGrpSpPr>
        <p:grpSpPr>
          <a:xfrm>
            <a:off x="-94004" y="5859512"/>
            <a:ext cx="10045273" cy="528987"/>
            <a:chOff x="-94004" y="5276277"/>
            <a:chExt cx="10045273" cy="528987"/>
          </a:xfrm>
        </p:grpSpPr>
        <p:sp>
          <p:nvSpPr>
            <p:cNvPr id="156" name="직사각형 155"/>
            <p:cNvSpPr/>
            <p:nvPr/>
          </p:nvSpPr>
          <p:spPr>
            <a:xfrm>
              <a:off x="0" y="5276277"/>
              <a:ext cx="9906000" cy="528987"/>
            </a:xfrm>
            <a:prstGeom prst="rect">
              <a:avLst/>
            </a:prstGeom>
            <a:blipFill>
              <a:blip r:embed="rId5">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cxnSp>
          <p:nvCxnSpPr>
            <p:cNvPr id="157" name="직선 연결선 156"/>
            <p:cNvCxnSpPr/>
            <p:nvPr/>
          </p:nvCxnSpPr>
          <p:spPr>
            <a:xfrm>
              <a:off x="0" y="5295326"/>
              <a:ext cx="9906000" cy="25699"/>
            </a:xfrm>
            <a:prstGeom prst="line">
              <a:avLst/>
            </a:prstGeom>
            <a:ln w="762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8" name="TextBox 157"/>
            <p:cNvSpPr txBox="1"/>
            <p:nvPr/>
          </p:nvSpPr>
          <p:spPr>
            <a:xfrm>
              <a:off x="-25909" y="5540474"/>
              <a:ext cx="1002379" cy="261610"/>
            </a:xfrm>
            <a:prstGeom prst="rect">
              <a:avLst/>
            </a:prstGeom>
            <a:noFill/>
          </p:spPr>
          <p:txBody>
            <a:bodyPr wrap="square" rtlCol="0">
              <a:spAutoFit/>
              <a:scene3d>
                <a:camera prst="orthographicFront"/>
                <a:lightRig rig="threePt" dir="t"/>
              </a:scene3d>
              <a:sp3d>
                <a:bevelT w="1270" h="1270"/>
              </a:sp3d>
            </a:bodyPr>
            <a:lstStyle>
              <a:defPPr>
                <a:defRPr lang="ko-KR"/>
              </a:defPPr>
              <a:lvl1pPr>
                <a:lnSpc>
                  <a:spcPct val="110000"/>
                </a:lnSpc>
                <a:defRPr sz="1600" b="1">
                  <a:gradFill flip="none" rotWithShape="1">
                    <a:gsLst>
                      <a:gs pos="0">
                        <a:srgbClr val="C60751"/>
                      </a:gs>
                      <a:gs pos="100000">
                        <a:srgbClr val="8F0F3D"/>
                      </a:gs>
                    </a:gsLst>
                    <a:lin ang="5400000" scaled="1"/>
                    <a:tileRect/>
                  </a:gradFill>
                  <a:latin typeface="Calibri" panose="020F0502020204030204" pitchFamily="34" charset="0"/>
                </a:defRPr>
              </a:lvl1pPr>
            </a:lstStyle>
            <a:p>
              <a:pPr fontAlgn="base">
                <a:spcBef>
                  <a:spcPct val="0"/>
                </a:spcBef>
              </a:pPr>
              <a:r>
                <a:rPr kumimoji="1" lang="en-US" altLang="ko-KR" sz="1000" b="0" spc="-80" dirty="0">
                  <a:solidFill>
                    <a:prstClr val="black">
                      <a:lumMod val="85000"/>
                      <a:lumOff val="15000"/>
                    </a:prstClr>
                  </a:solidFill>
                  <a:latin typeface="Arial" panose="020B0604020202020204" pitchFamily="34" charset="0"/>
                  <a:cs typeface="Arial" panose="020B0604020202020204" pitchFamily="34" charset="0"/>
                </a:rPr>
                <a:t>Office time starts</a:t>
              </a:r>
            </a:p>
          </p:txBody>
        </p:sp>
        <p:sp>
          <p:nvSpPr>
            <p:cNvPr id="159" name="TextBox 158"/>
            <p:cNvSpPr txBox="1"/>
            <p:nvPr/>
          </p:nvSpPr>
          <p:spPr>
            <a:xfrm>
              <a:off x="8481392" y="5540474"/>
              <a:ext cx="1173086" cy="261610"/>
            </a:xfrm>
            <a:prstGeom prst="rect">
              <a:avLst/>
            </a:prstGeom>
            <a:noFill/>
          </p:spPr>
          <p:txBody>
            <a:bodyPr wrap="square" rtlCol="0">
              <a:spAutoFit/>
              <a:scene3d>
                <a:camera prst="orthographicFront"/>
                <a:lightRig rig="threePt" dir="t"/>
              </a:scene3d>
              <a:sp3d>
                <a:bevelT w="1270" h="1270"/>
              </a:sp3d>
            </a:bodyPr>
            <a:lstStyle>
              <a:defPPr>
                <a:defRPr lang="ko-KR"/>
              </a:defPPr>
              <a:lvl1pPr fontAlgn="base">
                <a:lnSpc>
                  <a:spcPct val="110000"/>
                </a:lnSpc>
                <a:spcBef>
                  <a:spcPct val="0"/>
                </a:spcBef>
                <a:defRPr kumimoji="1" sz="11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pPr algn="ctr"/>
              <a:r>
                <a:rPr lang="en-US" altLang="ko-KR" sz="1000" b="0" dirty="0">
                  <a:solidFill>
                    <a:prstClr val="black">
                      <a:lumMod val="85000"/>
                      <a:lumOff val="15000"/>
                    </a:prstClr>
                  </a:solidFill>
                  <a:latin typeface="Arial" panose="020B0604020202020204" pitchFamily="34" charset="0"/>
                  <a:cs typeface="Arial" panose="020B0604020202020204" pitchFamily="34" charset="0"/>
                </a:rPr>
                <a:t>Office time ends</a:t>
              </a:r>
            </a:p>
          </p:txBody>
        </p:sp>
        <p:grpSp>
          <p:nvGrpSpPr>
            <p:cNvPr id="160" name="그룹 159"/>
            <p:cNvGrpSpPr/>
            <p:nvPr/>
          </p:nvGrpSpPr>
          <p:grpSpPr>
            <a:xfrm>
              <a:off x="-94004" y="5375485"/>
              <a:ext cx="10045273" cy="261617"/>
              <a:chOff x="-94004" y="7064591"/>
              <a:chExt cx="10045273" cy="261617"/>
            </a:xfrm>
          </p:grpSpPr>
          <p:sp>
            <p:nvSpPr>
              <p:cNvPr id="161" name="TextBox 160"/>
              <p:cNvSpPr txBox="1"/>
              <p:nvPr/>
            </p:nvSpPr>
            <p:spPr>
              <a:xfrm>
                <a:off x="-94004" y="7064598"/>
                <a:ext cx="726524"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7 o’clock</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2" name="TextBox 161"/>
              <p:cNvSpPr txBox="1"/>
              <p:nvPr/>
            </p:nvSpPr>
            <p:spPr>
              <a:xfrm>
                <a:off x="9449277"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22</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3" name="TextBox 162"/>
              <p:cNvSpPr txBox="1"/>
              <p:nvPr/>
            </p:nvSpPr>
            <p:spPr>
              <a:xfrm>
                <a:off x="7517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8</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4" name="TextBox 163"/>
              <p:cNvSpPr txBox="1"/>
              <p:nvPr/>
            </p:nvSpPr>
            <p:spPr>
              <a:xfrm>
                <a:off x="26155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1</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5" name="TextBox 164"/>
              <p:cNvSpPr txBox="1"/>
              <p:nvPr/>
            </p:nvSpPr>
            <p:spPr>
              <a:xfrm>
                <a:off x="32367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2</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6" name="TextBox 165"/>
              <p:cNvSpPr txBox="1"/>
              <p:nvPr/>
            </p:nvSpPr>
            <p:spPr>
              <a:xfrm>
                <a:off x="38580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3</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7" name="TextBox 166"/>
              <p:cNvSpPr txBox="1"/>
              <p:nvPr/>
            </p:nvSpPr>
            <p:spPr>
              <a:xfrm>
                <a:off x="44792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4</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8" name="TextBox 167"/>
              <p:cNvSpPr txBox="1"/>
              <p:nvPr/>
            </p:nvSpPr>
            <p:spPr>
              <a:xfrm>
                <a:off x="51005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5</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69" name="TextBox 168"/>
              <p:cNvSpPr txBox="1"/>
              <p:nvPr/>
            </p:nvSpPr>
            <p:spPr>
              <a:xfrm>
                <a:off x="57217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6</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0" name="TextBox 169"/>
              <p:cNvSpPr txBox="1"/>
              <p:nvPr/>
            </p:nvSpPr>
            <p:spPr>
              <a:xfrm>
                <a:off x="63430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7</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1" name="TextBox 170"/>
              <p:cNvSpPr txBox="1"/>
              <p:nvPr/>
            </p:nvSpPr>
            <p:spPr>
              <a:xfrm>
                <a:off x="69642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8</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2" name="TextBox 171"/>
              <p:cNvSpPr txBox="1"/>
              <p:nvPr/>
            </p:nvSpPr>
            <p:spPr>
              <a:xfrm>
                <a:off x="75855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9</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3" name="TextBox 172"/>
              <p:cNvSpPr txBox="1"/>
              <p:nvPr/>
            </p:nvSpPr>
            <p:spPr>
              <a:xfrm>
                <a:off x="82067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20</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4" name="TextBox 173"/>
              <p:cNvSpPr txBox="1"/>
              <p:nvPr/>
            </p:nvSpPr>
            <p:spPr>
              <a:xfrm>
                <a:off x="199427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10</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5" name="TextBox 174"/>
              <p:cNvSpPr txBox="1"/>
              <p:nvPr/>
            </p:nvSpPr>
            <p:spPr>
              <a:xfrm>
                <a:off x="88280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21</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76" name="TextBox 175"/>
              <p:cNvSpPr txBox="1"/>
              <p:nvPr/>
            </p:nvSpPr>
            <p:spPr>
              <a:xfrm>
                <a:off x="1373028" y="7064591"/>
                <a:ext cx="501992"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prstClr val="black">
                        <a:lumMod val="65000"/>
                        <a:lumOff val="35000"/>
                      </a:prstClr>
                    </a:solidFill>
                    <a:latin typeface="Arial" panose="020B0604020202020204" pitchFamily="34" charset="0"/>
                    <a:cs typeface="Arial" panose="020B0604020202020204" pitchFamily="34" charset="0"/>
                  </a:rPr>
                  <a:t>9</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grpSp>
      </p:grpSp>
      <p:pic>
        <p:nvPicPr>
          <p:cNvPr id="177" name="Picture 6" descr="Wife taking care of husband standing with children"/>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8821" t="11308" r="2639" b="10295"/>
          <a:stretch/>
        </p:blipFill>
        <p:spPr bwMode="auto">
          <a:xfrm>
            <a:off x="291611" y="4686517"/>
            <a:ext cx="1869103" cy="1102241"/>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178" name="자유형 177"/>
          <p:cNvSpPr/>
          <p:nvPr/>
        </p:nvSpPr>
        <p:spPr>
          <a:xfrm flipV="1">
            <a:off x="50769" y="4262664"/>
            <a:ext cx="845266" cy="360236"/>
          </a:xfrm>
          <a:custGeom>
            <a:avLst/>
            <a:gdLst>
              <a:gd name="connsiteX0" fmla="*/ 37539 w 642482"/>
              <a:gd name="connsiteY0" fmla="*/ 0 h 343238"/>
              <a:gd name="connsiteX1" fmla="*/ 604943 w 642482"/>
              <a:gd name="connsiteY1" fmla="*/ 0 h 343238"/>
              <a:gd name="connsiteX2" fmla="*/ 642482 w 642482"/>
              <a:gd name="connsiteY2" fmla="*/ 37539 h 343238"/>
              <a:gd name="connsiteX3" fmla="*/ 642482 w 642482"/>
              <a:gd name="connsiteY3" fmla="*/ 245241 h 343238"/>
              <a:gd name="connsiteX4" fmla="*/ 604943 w 642482"/>
              <a:gd name="connsiteY4" fmla="*/ 282780 h 343238"/>
              <a:gd name="connsiteX5" fmla="*/ 378363 w 642482"/>
              <a:gd name="connsiteY5" fmla="*/ 282780 h 343238"/>
              <a:gd name="connsiteX6" fmla="*/ 321241 w 642482"/>
              <a:gd name="connsiteY6" fmla="*/ 343238 h 343238"/>
              <a:gd name="connsiteX7" fmla="*/ 264120 w 642482"/>
              <a:gd name="connsiteY7" fmla="*/ 282780 h 343238"/>
              <a:gd name="connsiteX8" fmla="*/ 37539 w 642482"/>
              <a:gd name="connsiteY8" fmla="*/ 282780 h 343238"/>
              <a:gd name="connsiteX9" fmla="*/ 0 w 642482"/>
              <a:gd name="connsiteY9" fmla="*/ 245241 h 343238"/>
              <a:gd name="connsiteX10" fmla="*/ 0 w 642482"/>
              <a:gd name="connsiteY10" fmla="*/ 37539 h 343238"/>
              <a:gd name="connsiteX11" fmla="*/ 37539 w 642482"/>
              <a:gd name="connsiteY11" fmla="*/ 0 h 34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482" h="343238">
                <a:moveTo>
                  <a:pt x="37539" y="0"/>
                </a:moveTo>
                <a:lnTo>
                  <a:pt x="604943" y="0"/>
                </a:lnTo>
                <a:cubicBezTo>
                  <a:pt x="625675" y="0"/>
                  <a:pt x="642482" y="16807"/>
                  <a:pt x="642482" y="37539"/>
                </a:cubicBezTo>
                <a:lnTo>
                  <a:pt x="642482" y="245241"/>
                </a:lnTo>
                <a:cubicBezTo>
                  <a:pt x="642482" y="265973"/>
                  <a:pt x="625675" y="282780"/>
                  <a:pt x="604943" y="282780"/>
                </a:cubicBezTo>
                <a:lnTo>
                  <a:pt x="378363" y="282780"/>
                </a:lnTo>
                <a:lnTo>
                  <a:pt x="321241" y="343238"/>
                </a:lnTo>
                <a:lnTo>
                  <a:pt x="264120" y="282780"/>
                </a:lnTo>
                <a:lnTo>
                  <a:pt x="37539" y="282780"/>
                </a:lnTo>
                <a:cubicBezTo>
                  <a:pt x="16807" y="282780"/>
                  <a:pt x="0" y="265973"/>
                  <a:pt x="0" y="245241"/>
                </a:cubicBezTo>
                <a:lnTo>
                  <a:pt x="0" y="37539"/>
                </a:lnTo>
                <a:cubicBezTo>
                  <a:pt x="0" y="16807"/>
                  <a:pt x="16807" y="0"/>
                  <a:pt x="37539" y="0"/>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79" name="모서리가 둥근 직사각형 178"/>
          <p:cNvSpPr/>
          <p:nvPr/>
        </p:nvSpPr>
        <p:spPr>
          <a:xfrm flipV="1">
            <a:off x="89637" y="4355894"/>
            <a:ext cx="767531" cy="237225"/>
          </a:xfrm>
          <a:prstGeom prst="roundRect">
            <a:avLst>
              <a:gd name="adj" fmla="val 124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prstClr val="white"/>
              </a:solidFill>
              <a:latin typeface="Arial" panose="020B0604020202020204" pitchFamily="34" charset="0"/>
              <a:cs typeface="Arial" panose="020B0604020202020204" pitchFamily="34" charset="0"/>
            </a:endParaRPr>
          </a:p>
        </p:txBody>
      </p:sp>
      <p:sp>
        <p:nvSpPr>
          <p:cNvPr id="180" name="TextBox 179"/>
          <p:cNvSpPr txBox="1"/>
          <p:nvPr/>
        </p:nvSpPr>
        <p:spPr>
          <a:xfrm>
            <a:off x="21203" y="4355534"/>
            <a:ext cx="899349" cy="270074"/>
          </a:xfrm>
          <a:prstGeom prst="rect">
            <a:avLst/>
          </a:prstGeom>
          <a:noFill/>
        </p:spPr>
        <p:txBody>
          <a:bodyPr wrap="square" rtlCol="0">
            <a:spAutoFit/>
            <a:scene3d>
              <a:camera prst="orthographicFront"/>
              <a:lightRig rig="threePt" dir="t"/>
            </a:scene3d>
            <a:sp3d>
              <a:bevelT w="1270" h="1270"/>
            </a:sp3d>
          </a:bodyPr>
          <a:lstStyle>
            <a:defPPr>
              <a:defRPr lang="ko-KR"/>
            </a:defPPr>
            <a:lvl1pPr>
              <a:lnSpc>
                <a:spcPct val="110000"/>
              </a:lnSpc>
              <a:defRPr sz="1600" b="1">
                <a:gradFill flip="none" rotWithShape="1">
                  <a:gsLst>
                    <a:gs pos="0">
                      <a:srgbClr val="C60751"/>
                    </a:gs>
                    <a:gs pos="100000">
                      <a:srgbClr val="8F0F3D"/>
                    </a:gs>
                  </a:gsLst>
                  <a:lin ang="5400000" scaled="1"/>
                  <a:tileRect/>
                </a:gradFill>
                <a:latin typeface="Calibri" panose="020F0502020204030204" pitchFamily="34" charset="0"/>
              </a:defRPr>
            </a:lvl1pPr>
          </a:lstStyle>
          <a:p>
            <a:pPr algn="ctr" fontAlgn="base">
              <a:spcBef>
                <a:spcPct val="0"/>
              </a:spcBef>
            </a:pPr>
            <a:r>
              <a:rPr kumimoji="1" lang="en-US" altLang="ko-KR" sz="1050" spc="-80" dirty="0">
                <a:solidFill>
                  <a:prstClr val="black">
                    <a:lumMod val="65000"/>
                    <a:lumOff val="35000"/>
                  </a:prstClr>
                </a:solidFill>
                <a:latin typeface="Arial" panose="020B0604020202020204" pitchFamily="34" charset="0"/>
                <a:cs typeface="Arial" panose="020B0604020202020204" pitchFamily="34" charset="0"/>
              </a:rPr>
              <a:t>Extra high</a:t>
            </a:r>
            <a:endParaRPr kumimoji="1" lang="ko-KR" altLang="en-US" sz="1050" spc="-80" dirty="0">
              <a:solidFill>
                <a:prstClr val="black">
                  <a:lumMod val="65000"/>
                  <a:lumOff val="35000"/>
                </a:prstClr>
              </a:solidFill>
              <a:latin typeface="Arial" panose="020B0604020202020204" pitchFamily="34" charset="0"/>
              <a:cs typeface="Arial" panose="020B0604020202020204" pitchFamily="34" charset="0"/>
            </a:endParaRPr>
          </a:p>
        </p:txBody>
      </p:sp>
      <p:pic>
        <p:nvPicPr>
          <p:cNvPr id="181" name="Picture 2" descr="일러스트, 어린이 (인간의나이), 유치원, 어린이집, 교육 (주제), 학교"/>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t="11200"/>
          <a:stretch/>
        </p:blipFill>
        <p:spPr bwMode="auto">
          <a:xfrm>
            <a:off x="5444638" y="4005590"/>
            <a:ext cx="1564569" cy="1818504"/>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pic>
        <p:nvPicPr>
          <p:cNvPr id="182" name="그림 18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564245" y="4464580"/>
            <a:ext cx="2135567" cy="1325971"/>
          </a:xfrm>
          <a:prstGeom prst="rect">
            <a:avLst/>
          </a:prstGeom>
          <a:noFill/>
          <a:effectLst>
            <a:softEdge rad="31750"/>
          </a:effectLst>
        </p:spPr>
      </p:pic>
      <p:pic>
        <p:nvPicPr>
          <p:cNvPr id="183" name="Picture 6" descr="Young female sitting on working desk and looking at laptop. Office workplace. Online conference."/>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14061"/>
          <a:stretch/>
        </p:blipFill>
        <p:spPr bwMode="auto">
          <a:xfrm>
            <a:off x="2695144" y="4718825"/>
            <a:ext cx="1978075" cy="1132179"/>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184" name="자유형 183"/>
          <p:cNvSpPr/>
          <p:nvPr/>
        </p:nvSpPr>
        <p:spPr>
          <a:xfrm>
            <a:off x="-8758" y="2367490"/>
            <a:ext cx="9913097" cy="2671938"/>
          </a:xfrm>
          <a:custGeom>
            <a:avLst/>
            <a:gdLst>
              <a:gd name="connsiteX0" fmla="*/ 0 w 7534893"/>
              <a:gd name="connsiteY0" fmla="*/ 1941616 h 1947554"/>
              <a:gd name="connsiteX1" fmla="*/ 0 w 7534893"/>
              <a:gd name="connsiteY1" fmla="*/ 0 h 1947554"/>
              <a:gd name="connsiteX2" fmla="*/ 623454 w 7534893"/>
              <a:gd name="connsiteY2" fmla="*/ 0 h 1947554"/>
              <a:gd name="connsiteX3" fmla="*/ 623454 w 7534893"/>
              <a:gd name="connsiteY3" fmla="*/ 985652 h 1947554"/>
              <a:gd name="connsiteX4" fmla="*/ 1911927 w 7534893"/>
              <a:gd name="connsiteY4" fmla="*/ 985652 h 1947554"/>
              <a:gd name="connsiteX5" fmla="*/ 1911927 w 7534893"/>
              <a:gd name="connsiteY5" fmla="*/ 1680359 h 1947554"/>
              <a:gd name="connsiteX6" fmla="*/ 2535381 w 7534893"/>
              <a:gd name="connsiteY6" fmla="*/ 1680359 h 1947554"/>
              <a:gd name="connsiteX7" fmla="*/ 2535381 w 7534893"/>
              <a:gd name="connsiteY7" fmla="*/ 979715 h 1947554"/>
              <a:gd name="connsiteX8" fmla="*/ 4411683 w 7534893"/>
              <a:gd name="connsiteY8" fmla="*/ 979715 h 1947554"/>
              <a:gd name="connsiteX9" fmla="*/ 4411683 w 7534893"/>
              <a:gd name="connsiteY9" fmla="*/ 5938 h 1947554"/>
              <a:gd name="connsiteX10" fmla="*/ 5640779 w 7534893"/>
              <a:gd name="connsiteY10" fmla="*/ 5938 h 1947554"/>
              <a:gd name="connsiteX11" fmla="*/ 5640779 w 7534893"/>
              <a:gd name="connsiteY11" fmla="*/ 979715 h 1947554"/>
              <a:gd name="connsiteX12" fmla="*/ 6887688 w 7534893"/>
              <a:gd name="connsiteY12" fmla="*/ 979715 h 1947554"/>
              <a:gd name="connsiteX13" fmla="*/ 6887688 w 7534893"/>
              <a:gd name="connsiteY13" fmla="*/ 1775362 h 1947554"/>
              <a:gd name="connsiteX14" fmla="*/ 7534893 w 7534893"/>
              <a:gd name="connsiteY14" fmla="*/ 1775362 h 1947554"/>
              <a:gd name="connsiteX15" fmla="*/ 7534893 w 7534893"/>
              <a:gd name="connsiteY15" fmla="*/ 1947554 h 1947554"/>
              <a:gd name="connsiteX0" fmla="*/ 0 w 7534893"/>
              <a:gd name="connsiteY0" fmla="*/ 1941616 h 1947554"/>
              <a:gd name="connsiteX1" fmla="*/ 0 w 7534893"/>
              <a:gd name="connsiteY1" fmla="*/ 0 h 1947554"/>
              <a:gd name="connsiteX2" fmla="*/ 623454 w 7534893"/>
              <a:gd name="connsiteY2" fmla="*/ 0 h 1947554"/>
              <a:gd name="connsiteX3" fmla="*/ 656705 w 7534893"/>
              <a:gd name="connsiteY3" fmla="*/ 991194 h 1947554"/>
              <a:gd name="connsiteX4" fmla="*/ 1911927 w 7534893"/>
              <a:gd name="connsiteY4" fmla="*/ 985652 h 1947554"/>
              <a:gd name="connsiteX5" fmla="*/ 1911927 w 7534893"/>
              <a:gd name="connsiteY5" fmla="*/ 1680359 h 1947554"/>
              <a:gd name="connsiteX6" fmla="*/ 2535381 w 7534893"/>
              <a:gd name="connsiteY6" fmla="*/ 1680359 h 1947554"/>
              <a:gd name="connsiteX7" fmla="*/ 2535381 w 7534893"/>
              <a:gd name="connsiteY7" fmla="*/ 979715 h 1947554"/>
              <a:gd name="connsiteX8" fmla="*/ 4411683 w 7534893"/>
              <a:gd name="connsiteY8" fmla="*/ 979715 h 1947554"/>
              <a:gd name="connsiteX9" fmla="*/ 4411683 w 7534893"/>
              <a:gd name="connsiteY9" fmla="*/ 5938 h 1947554"/>
              <a:gd name="connsiteX10" fmla="*/ 5640779 w 7534893"/>
              <a:gd name="connsiteY10" fmla="*/ 5938 h 1947554"/>
              <a:gd name="connsiteX11" fmla="*/ 5640779 w 7534893"/>
              <a:gd name="connsiteY11" fmla="*/ 979715 h 1947554"/>
              <a:gd name="connsiteX12" fmla="*/ 6887688 w 7534893"/>
              <a:gd name="connsiteY12" fmla="*/ 979715 h 1947554"/>
              <a:gd name="connsiteX13" fmla="*/ 6887688 w 7534893"/>
              <a:gd name="connsiteY13" fmla="*/ 1775362 h 1947554"/>
              <a:gd name="connsiteX14" fmla="*/ 7534893 w 7534893"/>
              <a:gd name="connsiteY14" fmla="*/ 1775362 h 1947554"/>
              <a:gd name="connsiteX15" fmla="*/ 7534893 w 7534893"/>
              <a:gd name="connsiteY15" fmla="*/ 1947554 h 1947554"/>
              <a:gd name="connsiteX0" fmla="*/ 0 w 7534893"/>
              <a:gd name="connsiteY0" fmla="*/ 1941616 h 1947554"/>
              <a:gd name="connsiteX1" fmla="*/ 0 w 7534893"/>
              <a:gd name="connsiteY1" fmla="*/ 0 h 1947554"/>
              <a:gd name="connsiteX2" fmla="*/ 656705 w 7534893"/>
              <a:gd name="connsiteY2" fmla="*/ 0 h 1947554"/>
              <a:gd name="connsiteX3" fmla="*/ 656705 w 7534893"/>
              <a:gd name="connsiteY3" fmla="*/ 991194 h 1947554"/>
              <a:gd name="connsiteX4" fmla="*/ 1911927 w 7534893"/>
              <a:gd name="connsiteY4" fmla="*/ 985652 h 1947554"/>
              <a:gd name="connsiteX5" fmla="*/ 1911927 w 7534893"/>
              <a:gd name="connsiteY5" fmla="*/ 1680359 h 1947554"/>
              <a:gd name="connsiteX6" fmla="*/ 2535381 w 7534893"/>
              <a:gd name="connsiteY6" fmla="*/ 1680359 h 1947554"/>
              <a:gd name="connsiteX7" fmla="*/ 2535381 w 7534893"/>
              <a:gd name="connsiteY7" fmla="*/ 979715 h 1947554"/>
              <a:gd name="connsiteX8" fmla="*/ 4411683 w 7534893"/>
              <a:gd name="connsiteY8" fmla="*/ 979715 h 1947554"/>
              <a:gd name="connsiteX9" fmla="*/ 4411683 w 7534893"/>
              <a:gd name="connsiteY9" fmla="*/ 5938 h 1947554"/>
              <a:gd name="connsiteX10" fmla="*/ 5640779 w 7534893"/>
              <a:gd name="connsiteY10" fmla="*/ 5938 h 1947554"/>
              <a:gd name="connsiteX11" fmla="*/ 5640779 w 7534893"/>
              <a:gd name="connsiteY11" fmla="*/ 979715 h 1947554"/>
              <a:gd name="connsiteX12" fmla="*/ 6887688 w 7534893"/>
              <a:gd name="connsiteY12" fmla="*/ 979715 h 1947554"/>
              <a:gd name="connsiteX13" fmla="*/ 6887688 w 7534893"/>
              <a:gd name="connsiteY13" fmla="*/ 1775362 h 1947554"/>
              <a:gd name="connsiteX14" fmla="*/ 7534893 w 7534893"/>
              <a:gd name="connsiteY14" fmla="*/ 1775362 h 1947554"/>
              <a:gd name="connsiteX15" fmla="*/ 7534893 w 7534893"/>
              <a:gd name="connsiteY15" fmla="*/ 1947554 h 1947554"/>
              <a:gd name="connsiteX0" fmla="*/ 0 w 7534893"/>
              <a:gd name="connsiteY0" fmla="*/ 1941616 h 1947554"/>
              <a:gd name="connsiteX1" fmla="*/ 0 w 7534893"/>
              <a:gd name="connsiteY1" fmla="*/ 0 h 1947554"/>
              <a:gd name="connsiteX2" fmla="*/ 656705 w 7534893"/>
              <a:gd name="connsiteY2" fmla="*/ 0 h 1947554"/>
              <a:gd name="connsiteX3" fmla="*/ 662247 w 7534893"/>
              <a:gd name="connsiteY3" fmla="*/ 991194 h 1947554"/>
              <a:gd name="connsiteX4" fmla="*/ 1911927 w 7534893"/>
              <a:gd name="connsiteY4" fmla="*/ 985652 h 1947554"/>
              <a:gd name="connsiteX5" fmla="*/ 1911927 w 7534893"/>
              <a:gd name="connsiteY5" fmla="*/ 1680359 h 1947554"/>
              <a:gd name="connsiteX6" fmla="*/ 2535381 w 7534893"/>
              <a:gd name="connsiteY6" fmla="*/ 1680359 h 1947554"/>
              <a:gd name="connsiteX7" fmla="*/ 2535381 w 7534893"/>
              <a:gd name="connsiteY7" fmla="*/ 979715 h 1947554"/>
              <a:gd name="connsiteX8" fmla="*/ 4411683 w 7534893"/>
              <a:gd name="connsiteY8" fmla="*/ 979715 h 1947554"/>
              <a:gd name="connsiteX9" fmla="*/ 4411683 w 7534893"/>
              <a:gd name="connsiteY9" fmla="*/ 5938 h 1947554"/>
              <a:gd name="connsiteX10" fmla="*/ 5640779 w 7534893"/>
              <a:gd name="connsiteY10" fmla="*/ 5938 h 1947554"/>
              <a:gd name="connsiteX11" fmla="*/ 5640779 w 7534893"/>
              <a:gd name="connsiteY11" fmla="*/ 979715 h 1947554"/>
              <a:gd name="connsiteX12" fmla="*/ 6887688 w 7534893"/>
              <a:gd name="connsiteY12" fmla="*/ 979715 h 1947554"/>
              <a:gd name="connsiteX13" fmla="*/ 6887688 w 7534893"/>
              <a:gd name="connsiteY13" fmla="*/ 1775362 h 1947554"/>
              <a:gd name="connsiteX14" fmla="*/ 7534893 w 7534893"/>
              <a:gd name="connsiteY14" fmla="*/ 1775362 h 1947554"/>
              <a:gd name="connsiteX15" fmla="*/ 7534893 w 7534893"/>
              <a:gd name="connsiteY15"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411683 w 7534893"/>
              <a:gd name="connsiteY7" fmla="*/ 979715 h 1947554"/>
              <a:gd name="connsiteX8" fmla="*/ 4411683 w 7534893"/>
              <a:gd name="connsiteY8" fmla="*/ 5938 h 1947554"/>
              <a:gd name="connsiteX9" fmla="*/ 5640779 w 7534893"/>
              <a:gd name="connsiteY9" fmla="*/ 5938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411683 w 7534893"/>
              <a:gd name="connsiteY7" fmla="*/ 979715 h 1947554"/>
              <a:gd name="connsiteX8" fmla="*/ 4411683 w 7534893"/>
              <a:gd name="connsiteY8" fmla="*/ 5938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411683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411683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411683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1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50328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0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40779 w 7534893"/>
              <a:gd name="connsiteY10" fmla="*/ 979715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0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87688 w 7534893"/>
              <a:gd name="connsiteY11" fmla="*/ 97971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991194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0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11927 w 7534893"/>
              <a:gd name="connsiteY3" fmla="*/ 985652 h 1947554"/>
              <a:gd name="connsiteX4" fmla="*/ 1911927 w 7534893"/>
              <a:gd name="connsiteY4" fmla="*/ 1680359 h 1947554"/>
              <a:gd name="connsiteX5" fmla="*/ 2535381 w 7534893"/>
              <a:gd name="connsiteY5" fmla="*/ 1680359 h 1947554"/>
              <a:gd name="connsiteX6" fmla="*/ 2535380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2535381 w 7534893"/>
              <a:gd name="connsiteY5" fmla="*/ 1680359 h 1947554"/>
              <a:gd name="connsiteX6" fmla="*/ 2535380 w 7534893"/>
              <a:gd name="connsiteY6" fmla="*/ 979715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2535381 w 7534893"/>
              <a:gd name="connsiteY5" fmla="*/ 1680359 h 1947554"/>
              <a:gd name="connsiteX6" fmla="*/ 4002667 w 7534893"/>
              <a:gd name="connsiteY6" fmla="*/ 1007486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4396736 w 7534893"/>
              <a:gd name="connsiteY7" fmla="*/ 979715 h 1947554"/>
              <a:gd name="connsiteX8" fmla="*/ 4399160 w 7534893"/>
              <a:gd name="connsiteY8" fmla="*/ 372212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4396736 w 7534893"/>
              <a:gd name="connsiteY7" fmla="*/ 979715 h 1947554"/>
              <a:gd name="connsiteX8" fmla="*/ 5325868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323444 w 7534893"/>
              <a:gd name="connsiteY7" fmla="*/ 1016743 h 1947554"/>
              <a:gd name="connsiteX8" fmla="*/ 5325868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36566 w 7534893"/>
              <a:gd name="connsiteY7" fmla="*/ 1007486 h 1947554"/>
              <a:gd name="connsiteX8" fmla="*/ 5325868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325868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48643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640779 w 7534893"/>
              <a:gd name="connsiteY9" fmla="*/ 378217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650433 w 7534893"/>
              <a:gd name="connsiteY10" fmla="*/ 54023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6897341 w 7534893"/>
              <a:gd name="connsiteY11" fmla="*/ 6327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6897341 w 7534893"/>
              <a:gd name="connsiteY11" fmla="*/ 18361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7119364 w 7534893"/>
              <a:gd name="connsiteY11" fmla="*/ 183619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6887688 w 7534893"/>
              <a:gd name="connsiteY12" fmla="*/ 177536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34893 w 7534893"/>
              <a:gd name="connsiteY13" fmla="*/ 1775362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9983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3384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62804 w 7534893"/>
              <a:gd name="connsiteY9" fmla="*/ 396731 h 1947554"/>
              <a:gd name="connsiteX10" fmla="*/ 5843497 w 7534893"/>
              <a:gd name="connsiteY10" fmla="*/ 165106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53322 h 1947554"/>
              <a:gd name="connsiteX13" fmla="*/ 7525240 w 7534893"/>
              <a:gd name="connsiteY13" fmla="*/ 1099606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21580 w 7534893"/>
              <a:gd name="connsiteY3" fmla="*/ 1281874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53322 h 1947554"/>
              <a:gd name="connsiteX13" fmla="*/ 7534893 w 7534893"/>
              <a:gd name="connsiteY13" fmla="*/ 1062579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87256 w 7534893"/>
              <a:gd name="connsiteY8" fmla="*/ 390726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53322 h 1947554"/>
              <a:gd name="connsiteX13" fmla="*/ 7534893 w 7534893"/>
              <a:gd name="connsiteY13" fmla="*/ 1062579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58297 w 7534893"/>
              <a:gd name="connsiteY8" fmla="*/ 381469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53322 h 1947554"/>
              <a:gd name="connsiteX13" fmla="*/ 7534893 w 7534893"/>
              <a:gd name="connsiteY13" fmla="*/ 1062579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58297 w 7534893"/>
              <a:gd name="connsiteY8" fmla="*/ 381469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71836 h 1947554"/>
              <a:gd name="connsiteX13" fmla="*/ 7534893 w 7534893"/>
              <a:gd name="connsiteY13" fmla="*/ 1062579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4012321 w 7534893"/>
              <a:gd name="connsiteY5" fmla="*/ 1661845 h 1947554"/>
              <a:gd name="connsiteX6" fmla="*/ 4002667 w 7534893"/>
              <a:gd name="connsiteY6" fmla="*/ 1007486 h 1947554"/>
              <a:gd name="connsiteX7" fmla="*/ 5265526 w 7534893"/>
              <a:gd name="connsiteY7" fmla="*/ 979715 h 1947554"/>
              <a:gd name="connsiteX8" fmla="*/ 5258297 w 7534893"/>
              <a:gd name="connsiteY8" fmla="*/ 381469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71836 h 1947554"/>
              <a:gd name="connsiteX13" fmla="*/ 7534893 w 7534893"/>
              <a:gd name="connsiteY13" fmla="*/ 1081093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4012321 w 7534893"/>
              <a:gd name="connsiteY5" fmla="*/ 1661845 h 1947554"/>
              <a:gd name="connsiteX6" fmla="*/ 3906135 w 7534893"/>
              <a:gd name="connsiteY6" fmla="*/ 1007486 h 1947554"/>
              <a:gd name="connsiteX7" fmla="*/ 5265526 w 7534893"/>
              <a:gd name="connsiteY7" fmla="*/ 979715 h 1947554"/>
              <a:gd name="connsiteX8" fmla="*/ 5258297 w 7534893"/>
              <a:gd name="connsiteY8" fmla="*/ 381469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71836 h 1947554"/>
              <a:gd name="connsiteX13" fmla="*/ 7534893 w 7534893"/>
              <a:gd name="connsiteY13" fmla="*/ 1081093 h 1947554"/>
              <a:gd name="connsiteX14" fmla="*/ 7534893 w 7534893"/>
              <a:gd name="connsiteY14" fmla="*/ 1947554 h 1947554"/>
              <a:gd name="connsiteX0" fmla="*/ 0 w 7534893"/>
              <a:gd name="connsiteY0" fmla="*/ 0 h 1947554"/>
              <a:gd name="connsiteX1" fmla="*/ 656705 w 7534893"/>
              <a:gd name="connsiteY1" fmla="*/ 0 h 1947554"/>
              <a:gd name="connsiteX2" fmla="*/ 662247 w 7534893"/>
              <a:gd name="connsiteY2" fmla="*/ 1259645 h 1947554"/>
              <a:gd name="connsiteX3" fmla="*/ 1902274 w 7534893"/>
              <a:gd name="connsiteY3" fmla="*/ 1263360 h 1947554"/>
              <a:gd name="connsiteX4" fmla="*/ 1911927 w 7534893"/>
              <a:gd name="connsiteY4" fmla="*/ 1680359 h 1947554"/>
              <a:gd name="connsiteX5" fmla="*/ 3915789 w 7534893"/>
              <a:gd name="connsiteY5" fmla="*/ 1671102 h 1947554"/>
              <a:gd name="connsiteX6" fmla="*/ 3906135 w 7534893"/>
              <a:gd name="connsiteY6" fmla="*/ 1007486 h 1947554"/>
              <a:gd name="connsiteX7" fmla="*/ 5265526 w 7534893"/>
              <a:gd name="connsiteY7" fmla="*/ 979715 h 1947554"/>
              <a:gd name="connsiteX8" fmla="*/ 5258297 w 7534893"/>
              <a:gd name="connsiteY8" fmla="*/ 381469 h 1947554"/>
              <a:gd name="connsiteX9" fmla="*/ 5862804 w 7534893"/>
              <a:gd name="connsiteY9" fmla="*/ 396731 h 1947554"/>
              <a:gd name="connsiteX10" fmla="*/ 5862804 w 7534893"/>
              <a:gd name="connsiteY10" fmla="*/ 155849 h 1947554"/>
              <a:gd name="connsiteX11" fmla="*/ 7331734 w 7534893"/>
              <a:gd name="connsiteY11" fmla="*/ 165105 h 1947554"/>
              <a:gd name="connsiteX12" fmla="*/ 7341389 w 7534893"/>
              <a:gd name="connsiteY12" fmla="*/ 1071836 h 1947554"/>
              <a:gd name="connsiteX13" fmla="*/ 7534893 w 7534893"/>
              <a:gd name="connsiteY13" fmla="*/ 1081093 h 1947554"/>
              <a:gd name="connsiteX14" fmla="*/ 7534893 w 7534893"/>
              <a:gd name="connsiteY14" fmla="*/ 1947554 h 19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34893" h="1947554">
                <a:moveTo>
                  <a:pt x="0" y="0"/>
                </a:moveTo>
                <a:lnTo>
                  <a:pt x="656705" y="0"/>
                </a:lnTo>
                <a:cubicBezTo>
                  <a:pt x="658552" y="330398"/>
                  <a:pt x="660400" y="929247"/>
                  <a:pt x="662247" y="1259645"/>
                </a:cubicBezTo>
                <a:lnTo>
                  <a:pt x="1902274" y="1263360"/>
                </a:lnTo>
                <a:lnTo>
                  <a:pt x="1911927" y="1680359"/>
                </a:lnTo>
                <a:lnTo>
                  <a:pt x="3915789" y="1671102"/>
                </a:lnTo>
                <a:cubicBezTo>
                  <a:pt x="3915789" y="1437554"/>
                  <a:pt x="3906135" y="1241034"/>
                  <a:pt x="3906135" y="1007486"/>
                </a:cubicBezTo>
                <a:lnTo>
                  <a:pt x="5265526" y="979715"/>
                </a:lnTo>
                <a:cubicBezTo>
                  <a:pt x="5263116" y="780300"/>
                  <a:pt x="5260707" y="580884"/>
                  <a:pt x="5258297" y="381469"/>
                </a:cubicBezTo>
                <a:lnTo>
                  <a:pt x="5862804" y="396731"/>
                </a:lnTo>
                <a:lnTo>
                  <a:pt x="5862804" y="155849"/>
                </a:lnTo>
                <a:lnTo>
                  <a:pt x="7331734" y="165105"/>
                </a:lnTo>
                <a:cubicBezTo>
                  <a:pt x="7328516" y="735799"/>
                  <a:pt x="7344607" y="501142"/>
                  <a:pt x="7341389" y="1071836"/>
                </a:cubicBezTo>
                <a:lnTo>
                  <a:pt x="7534893" y="1081093"/>
                </a:lnTo>
                <a:lnTo>
                  <a:pt x="7534893" y="1947554"/>
                </a:lnTo>
              </a:path>
            </a:pathLst>
          </a:cu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85" name="자유형 184"/>
          <p:cNvSpPr/>
          <p:nvPr/>
        </p:nvSpPr>
        <p:spPr>
          <a:xfrm>
            <a:off x="-8759" y="2557238"/>
            <a:ext cx="9922621" cy="2136528"/>
          </a:xfrm>
          <a:custGeom>
            <a:avLst/>
            <a:gdLst>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62545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91049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55423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72836 h 1525979"/>
              <a:gd name="connsiteX1" fmla="*/ 326571 w 7534893"/>
              <a:gd name="connsiteY1" fmla="*/ 5938 h 1525979"/>
              <a:gd name="connsiteX2" fmla="*/ 825335 w 7534893"/>
              <a:gd name="connsiteY2" fmla="*/ 605641 h 1525979"/>
              <a:gd name="connsiteX3" fmla="*/ 1609106 w 7534893"/>
              <a:gd name="connsiteY3" fmla="*/ 605641 h 1525979"/>
              <a:gd name="connsiteX4" fmla="*/ 2220685 w 7534893"/>
              <a:gd name="connsiteY4" fmla="*/ 1300348 h 1525979"/>
              <a:gd name="connsiteX5" fmla="*/ 2535381 w 7534893"/>
              <a:gd name="connsiteY5" fmla="*/ 908462 h 1525979"/>
              <a:gd name="connsiteX6" fmla="*/ 3069771 w 7534893"/>
              <a:gd name="connsiteY6" fmla="*/ 605641 h 1525979"/>
              <a:gd name="connsiteX7" fmla="*/ 4055423 w 7534893"/>
              <a:gd name="connsiteY7" fmla="*/ 611579 h 1525979"/>
              <a:gd name="connsiteX8" fmla="*/ 5005449 w 7534893"/>
              <a:gd name="connsiteY8" fmla="*/ 0 h 1525979"/>
              <a:gd name="connsiteX9" fmla="*/ 5320145 w 7534893"/>
              <a:gd name="connsiteY9" fmla="*/ 0 h 1525979"/>
              <a:gd name="connsiteX10" fmla="*/ 7534893 w 7534893"/>
              <a:gd name="connsiteY10" fmla="*/ 1525979 h 1525979"/>
              <a:gd name="connsiteX11" fmla="*/ 7534893 w 7534893"/>
              <a:gd name="connsiteY11" fmla="*/ 1525979 h 1525979"/>
              <a:gd name="connsiteX0" fmla="*/ 0 w 7534893"/>
              <a:gd name="connsiteY0" fmla="*/ 886030 h 1539173"/>
              <a:gd name="connsiteX1" fmla="*/ 326571 w 7534893"/>
              <a:gd name="connsiteY1" fmla="*/ 19132 h 1539173"/>
              <a:gd name="connsiteX2" fmla="*/ 825335 w 7534893"/>
              <a:gd name="connsiteY2" fmla="*/ 618835 h 1539173"/>
              <a:gd name="connsiteX3" fmla="*/ 1609106 w 7534893"/>
              <a:gd name="connsiteY3" fmla="*/ 618835 h 1539173"/>
              <a:gd name="connsiteX4" fmla="*/ 2220685 w 7534893"/>
              <a:gd name="connsiteY4" fmla="*/ 1313542 h 1539173"/>
              <a:gd name="connsiteX5" fmla="*/ 2535381 w 7534893"/>
              <a:gd name="connsiteY5" fmla="*/ 921656 h 1539173"/>
              <a:gd name="connsiteX6" fmla="*/ 3069771 w 7534893"/>
              <a:gd name="connsiteY6" fmla="*/ 618835 h 1539173"/>
              <a:gd name="connsiteX7" fmla="*/ 4055423 w 7534893"/>
              <a:gd name="connsiteY7" fmla="*/ 624773 h 1539173"/>
              <a:gd name="connsiteX8" fmla="*/ 5005449 w 7534893"/>
              <a:gd name="connsiteY8" fmla="*/ 13194 h 1539173"/>
              <a:gd name="connsiteX9" fmla="*/ 5320145 w 7534893"/>
              <a:gd name="connsiteY9" fmla="*/ 13194 h 1539173"/>
              <a:gd name="connsiteX10" fmla="*/ 7534893 w 7534893"/>
              <a:gd name="connsiteY10" fmla="*/ 1539173 h 1539173"/>
              <a:gd name="connsiteX11" fmla="*/ 7534893 w 7534893"/>
              <a:gd name="connsiteY11" fmla="*/ 1539173 h 1539173"/>
              <a:gd name="connsiteX0" fmla="*/ 0 w 7534893"/>
              <a:gd name="connsiteY0" fmla="*/ 892937 h 1546080"/>
              <a:gd name="connsiteX1" fmla="*/ 326571 w 7534893"/>
              <a:gd name="connsiteY1" fmla="*/ 26039 h 1546080"/>
              <a:gd name="connsiteX2" fmla="*/ 825335 w 7534893"/>
              <a:gd name="connsiteY2" fmla="*/ 625742 h 1546080"/>
              <a:gd name="connsiteX3" fmla="*/ 1609106 w 7534893"/>
              <a:gd name="connsiteY3" fmla="*/ 625742 h 1546080"/>
              <a:gd name="connsiteX4" fmla="*/ 2220685 w 7534893"/>
              <a:gd name="connsiteY4" fmla="*/ 1320449 h 1546080"/>
              <a:gd name="connsiteX5" fmla="*/ 2535381 w 7534893"/>
              <a:gd name="connsiteY5" fmla="*/ 928563 h 1546080"/>
              <a:gd name="connsiteX6" fmla="*/ 3069771 w 7534893"/>
              <a:gd name="connsiteY6" fmla="*/ 625742 h 1546080"/>
              <a:gd name="connsiteX7" fmla="*/ 4055423 w 7534893"/>
              <a:gd name="connsiteY7" fmla="*/ 631680 h 1546080"/>
              <a:gd name="connsiteX8" fmla="*/ 5005449 w 7534893"/>
              <a:gd name="connsiteY8" fmla="*/ 20101 h 1546080"/>
              <a:gd name="connsiteX9" fmla="*/ 5320145 w 7534893"/>
              <a:gd name="connsiteY9" fmla="*/ 20101 h 1546080"/>
              <a:gd name="connsiteX10" fmla="*/ 7534893 w 7534893"/>
              <a:gd name="connsiteY10" fmla="*/ 1546080 h 1546080"/>
              <a:gd name="connsiteX11" fmla="*/ 7534893 w 7534893"/>
              <a:gd name="connsiteY11" fmla="*/ 1546080 h 1546080"/>
              <a:gd name="connsiteX0" fmla="*/ 0 w 7534893"/>
              <a:gd name="connsiteY0" fmla="*/ 892937 h 1546080"/>
              <a:gd name="connsiteX1" fmla="*/ 326571 w 7534893"/>
              <a:gd name="connsiteY1" fmla="*/ 26039 h 1546080"/>
              <a:gd name="connsiteX2" fmla="*/ 825335 w 7534893"/>
              <a:gd name="connsiteY2" fmla="*/ 625742 h 1546080"/>
              <a:gd name="connsiteX3" fmla="*/ 1609106 w 7534893"/>
              <a:gd name="connsiteY3" fmla="*/ 625742 h 1546080"/>
              <a:gd name="connsiteX4" fmla="*/ 2220685 w 7534893"/>
              <a:gd name="connsiteY4" fmla="*/ 1320449 h 1546080"/>
              <a:gd name="connsiteX5" fmla="*/ 2535381 w 7534893"/>
              <a:gd name="connsiteY5" fmla="*/ 928563 h 1546080"/>
              <a:gd name="connsiteX6" fmla="*/ 3069771 w 7534893"/>
              <a:gd name="connsiteY6" fmla="*/ 625742 h 1546080"/>
              <a:gd name="connsiteX7" fmla="*/ 4055423 w 7534893"/>
              <a:gd name="connsiteY7" fmla="*/ 631680 h 1546080"/>
              <a:gd name="connsiteX8" fmla="*/ 5005449 w 7534893"/>
              <a:gd name="connsiteY8" fmla="*/ 20101 h 1546080"/>
              <a:gd name="connsiteX9" fmla="*/ 5320145 w 7534893"/>
              <a:gd name="connsiteY9" fmla="*/ 20101 h 1546080"/>
              <a:gd name="connsiteX10" fmla="*/ 7534893 w 7534893"/>
              <a:gd name="connsiteY10" fmla="*/ 1546080 h 1546080"/>
              <a:gd name="connsiteX11" fmla="*/ 7534893 w 7534893"/>
              <a:gd name="connsiteY11" fmla="*/ 1546080 h 1546080"/>
              <a:gd name="connsiteX0" fmla="*/ 0 w 7534893"/>
              <a:gd name="connsiteY0" fmla="*/ 892937 h 1546080"/>
              <a:gd name="connsiteX1" fmla="*/ 326571 w 7534893"/>
              <a:gd name="connsiteY1" fmla="*/ 26039 h 1546080"/>
              <a:gd name="connsiteX2" fmla="*/ 825335 w 7534893"/>
              <a:gd name="connsiteY2" fmla="*/ 625742 h 1546080"/>
              <a:gd name="connsiteX3" fmla="*/ 1609106 w 7534893"/>
              <a:gd name="connsiteY3" fmla="*/ 625742 h 1546080"/>
              <a:gd name="connsiteX4" fmla="*/ 2220685 w 7534893"/>
              <a:gd name="connsiteY4" fmla="*/ 1320449 h 1546080"/>
              <a:gd name="connsiteX5" fmla="*/ 2535381 w 7534893"/>
              <a:gd name="connsiteY5" fmla="*/ 928563 h 1546080"/>
              <a:gd name="connsiteX6" fmla="*/ 3069771 w 7534893"/>
              <a:gd name="connsiteY6" fmla="*/ 625742 h 1546080"/>
              <a:gd name="connsiteX7" fmla="*/ 4055423 w 7534893"/>
              <a:gd name="connsiteY7" fmla="*/ 631680 h 1546080"/>
              <a:gd name="connsiteX8" fmla="*/ 5005449 w 7534893"/>
              <a:gd name="connsiteY8" fmla="*/ 20101 h 1546080"/>
              <a:gd name="connsiteX9" fmla="*/ 5320145 w 7534893"/>
              <a:gd name="connsiteY9" fmla="*/ 20101 h 1546080"/>
              <a:gd name="connsiteX10" fmla="*/ 7534893 w 7534893"/>
              <a:gd name="connsiteY10" fmla="*/ 1546080 h 1546080"/>
              <a:gd name="connsiteX11" fmla="*/ 7534893 w 7534893"/>
              <a:gd name="connsiteY11" fmla="*/ 1546080 h 1546080"/>
              <a:gd name="connsiteX0" fmla="*/ 0 w 7534893"/>
              <a:gd name="connsiteY0" fmla="*/ 886691 h 1539834"/>
              <a:gd name="connsiteX1" fmla="*/ 326571 w 7534893"/>
              <a:gd name="connsiteY1" fmla="*/ 19793 h 1539834"/>
              <a:gd name="connsiteX2" fmla="*/ 825335 w 7534893"/>
              <a:gd name="connsiteY2" fmla="*/ 619496 h 1539834"/>
              <a:gd name="connsiteX3" fmla="*/ 1609106 w 7534893"/>
              <a:gd name="connsiteY3" fmla="*/ 619496 h 1539834"/>
              <a:gd name="connsiteX4" fmla="*/ 2220685 w 7534893"/>
              <a:gd name="connsiteY4" fmla="*/ 1314203 h 1539834"/>
              <a:gd name="connsiteX5" fmla="*/ 2535381 w 7534893"/>
              <a:gd name="connsiteY5" fmla="*/ 922317 h 1539834"/>
              <a:gd name="connsiteX6" fmla="*/ 3069771 w 7534893"/>
              <a:gd name="connsiteY6" fmla="*/ 619496 h 1539834"/>
              <a:gd name="connsiteX7" fmla="*/ 4055423 w 7534893"/>
              <a:gd name="connsiteY7" fmla="*/ 625434 h 1539834"/>
              <a:gd name="connsiteX8" fmla="*/ 5005449 w 7534893"/>
              <a:gd name="connsiteY8" fmla="*/ 13855 h 1539834"/>
              <a:gd name="connsiteX9" fmla="*/ 5320145 w 7534893"/>
              <a:gd name="connsiteY9" fmla="*/ 31668 h 1539834"/>
              <a:gd name="connsiteX10" fmla="*/ 7534893 w 7534893"/>
              <a:gd name="connsiteY10" fmla="*/ 1539834 h 1539834"/>
              <a:gd name="connsiteX11" fmla="*/ 7534893 w 7534893"/>
              <a:gd name="connsiteY11" fmla="*/ 1539834 h 1539834"/>
              <a:gd name="connsiteX0" fmla="*/ 0 w 7534893"/>
              <a:gd name="connsiteY0" fmla="*/ 872157 h 1525300"/>
              <a:gd name="connsiteX1" fmla="*/ 326571 w 7534893"/>
              <a:gd name="connsiteY1" fmla="*/ 5259 h 1525300"/>
              <a:gd name="connsiteX2" fmla="*/ 825335 w 7534893"/>
              <a:gd name="connsiteY2" fmla="*/ 604962 h 1525300"/>
              <a:gd name="connsiteX3" fmla="*/ 1609106 w 7534893"/>
              <a:gd name="connsiteY3" fmla="*/ 604962 h 1525300"/>
              <a:gd name="connsiteX4" fmla="*/ 2220685 w 7534893"/>
              <a:gd name="connsiteY4" fmla="*/ 1299669 h 1525300"/>
              <a:gd name="connsiteX5" fmla="*/ 2535381 w 7534893"/>
              <a:gd name="connsiteY5" fmla="*/ 907783 h 1525300"/>
              <a:gd name="connsiteX6" fmla="*/ 3069771 w 7534893"/>
              <a:gd name="connsiteY6" fmla="*/ 604962 h 1525300"/>
              <a:gd name="connsiteX7" fmla="*/ 4055423 w 7534893"/>
              <a:gd name="connsiteY7" fmla="*/ 610900 h 1525300"/>
              <a:gd name="connsiteX8" fmla="*/ 5011387 w 7534893"/>
              <a:gd name="connsiteY8" fmla="*/ 23071 h 1525300"/>
              <a:gd name="connsiteX9" fmla="*/ 5320145 w 7534893"/>
              <a:gd name="connsiteY9" fmla="*/ 17134 h 1525300"/>
              <a:gd name="connsiteX10" fmla="*/ 7534893 w 7534893"/>
              <a:gd name="connsiteY10" fmla="*/ 1525300 h 1525300"/>
              <a:gd name="connsiteX11" fmla="*/ 7534893 w 7534893"/>
              <a:gd name="connsiteY11" fmla="*/ 1525300 h 1525300"/>
              <a:gd name="connsiteX0" fmla="*/ 0 w 7534893"/>
              <a:gd name="connsiteY0" fmla="*/ 878955 h 1532098"/>
              <a:gd name="connsiteX1" fmla="*/ 326571 w 7534893"/>
              <a:gd name="connsiteY1" fmla="*/ 12057 h 1532098"/>
              <a:gd name="connsiteX2" fmla="*/ 825335 w 7534893"/>
              <a:gd name="connsiteY2" fmla="*/ 611760 h 1532098"/>
              <a:gd name="connsiteX3" fmla="*/ 1609106 w 7534893"/>
              <a:gd name="connsiteY3" fmla="*/ 611760 h 1532098"/>
              <a:gd name="connsiteX4" fmla="*/ 2220685 w 7534893"/>
              <a:gd name="connsiteY4" fmla="*/ 1306467 h 1532098"/>
              <a:gd name="connsiteX5" fmla="*/ 2535381 w 7534893"/>
              <a:gd name="connsiteY5" fmla="*/ 914581 h 1532098"/>
              <a:gd name="connsiteX6" fmla="*/ 3069771 w 7534893"/>
              <a:gd name="connsiteY6" fmla="*/ 611760 h 1532098"/>
              <a:gd name="connsiteX7" fmla="*/ 4055423 w 7534893"/>
              <a:gd name="connsiteY7" fmla="*/ 617698 h 1532098"/>
              <a:gd name="connsiteX8" fmla="*/ 5011387 w 7534893"/>
              <a:gd name="connsiteY8" fmla="*/ 29869 h 1532098"/>
              <a:gd name="connsiteX9" fmla="*/ 5320145 w 7534893"/>
              <a:gd name="connsiteY9" fmla="*/ 23932 h 1532098"/>
              <a:gd name="connsiteX10" fmla="*/ 7534893 w 7534893"/>
              <a:gd name="connsiteY10" fmla="*/ 1532098 h 1532098"/>
              <a:gd name="connsiteX11" fmla="*/ 7534893 w 7534893"/>
              <a:gd name="connsiteY11" fmla="*/ 1532098 h 1532098"/>
              <a:gd name="connsiteX0" fmla="*/ 0 w 7534893"/>
              <a:gd name="connsiteY0" fmla="*/ 886246 h 1539389"/>
              <a:gd name="connsiteX1" fmla="*/ 326571 w 7534893"/>
              <a:gd name="connsiteY1" fmla="*/ 19348 h 1539389"/>
              <a:gd name="connsiteX2" fmla="*/ 825335 w 7534893"/>
              <a:gd name="connsiteY2" fmla="*/ 619051 h 1539389"/>
              <a:gd name="connsiteX3" fmla="*/ 1609106 w 7534893"/>
              <a:gd name="connsiteY3" fmla="*/ 619051 h 1539389"/>
              <a:gd name="connsiteX4" fmla="*/ 2220685 w 7534893"/>
              <a:gd name="connsiteY4" fmla="*/ 1313758 h 1539389"/>
              <a:gd name="connsiteX5" fmla="*/ 2535381 w 7534893"/>
              <a:gd name="connsiteY5" fmla="*/ 921872 h 1539389"/>
              <a:gd name="connsiteX6" fmla="*/ 3069771 w 7534893"/>
              <a:gd name="connsiteY6" fmla="*/ 619051 h 1539389"/>
              <a:gd name="connsiteX7" fmla="*/ 4055423 w 7534893"/>
              <a:gd name="connsiteY7" fmla="*/ 624989 h 1539389"/>
              <a:gd name="connsiteX8" fmla="*/ 5011387 w 7534893"/>
              <a:gd name="connsiteY8" fmla="*/ 25285 h 1539389"/>
              <a:gd name="connsiteX9" fmla="*/ 5320145 w 7534893"/>
              <a:gd name="connsiteY9" fmla="*/ 31223 h 1539389"/>
              <a:gd name="connsiteX10" fmla="*/ 7534893 w 7534893"/>
              <a:gd name="connsiteY10" fmla="*/ 1539389 h 1539389"/>
              <a:gd name="connsiteX11" fmla="*/ 7534893 w 7534893"/>
              <a:gd name="connsiteY11" fmla="*/ 1539389 h 1539389"/>
              <a:gd name="connsiteX0" fmla="*/ 0 w 7534893"/>
              <a:gd name="connsiteY0" fmla="*/ 893618 h 1546761"/>
              <a:gd name="connsiteX1" fmla="*/ 326571 w 7534893"/>
              <a:gd name="connsiteY1" fmla="*/ 26720 h 1546761"/>
              <a:gd name="connsiteX2" fmla="*/ 825335 w 7534893"/>
              <a:gd name="connsiteY2" fmla="*/ 626423 h 1546761"/>
              <a:gd name="connsiteX3" fmla="*/ 1609106 w 7534893"/>
              <a:gd name="connsiteY3" fmla="*/ 626423 h 1546761"/>
              <a:gd name="connsiteX4" fmla="*/ 2220685 w 7534893"/>
              <a:gd name="connsiteY4" fmla="*/ 1321130 h 1546761"/>
              <a:gd name="connsiteX5" fmla="*/ 2535381 w 7534893"/>
              <a:gd name="connsiteY5" fmla="*/ 929244 h 1546761"/>
              <a:gd name="connsiteX6" fmla="*/ 3069771 w 7534893"/>
              <a:gd name="connsiteY6" fmla="*/ 626423 h 1546761"/>
              <a:gd name="connsiteX7" fmla="*/ 4055423 w 7534893"/>
              <a:gd name="connsiteY7" fmla="*/ 632361 h 1546761"/>
              <a:gd name="connsiteX8" fmla="*/ 5011387 w 7534893"/>
              <a:gd name="connsiteY8" fmla="*/ 32657 h 1546761"/>
              <a:gd name="connsiteX9" fmla="*/ 5314208 w 7534893"/>
              <a:gd name="connsiteY9" fmla="*/ 20782 h 1546761"/>
              <a:gd name="connsiteX10" fmla="*/ 7534893 w 7534893"/>
              <a:gd name="connsiteY10" fmla="*/ 1546761 h 1546761"/>
              <a:gd name="connsiteX11" fmla="*/ 7534893 w 7534893"/>
              <a:gd name="connsiteY11" fmla="*/ 1546761 h 1546761"/>
              <a:gd name="connsiteX0" fmla="*/ 0 w 7534893"/>
              <a:gd name="connsiteY0" fmla="*/ 884028 h 1537171"/>
              <a:gd name="connsiteX1" fmla="*/ 326571 w 7534893"/>
              <a:gd name="connsiteY1" fmla="*/ 17130 h 1537171"/>
              <a:gd name="connsiteX2" fmla="*/ 825335 w 7534893"/>
              <a:gd name="connsiteY2" fmla="*/ 616833 h 1537171"/>
              <a:gd name="connsiteX3" fmla="*/ 1609106 w 7534893"/>
              <a:gd name="connsiteY3" fmla="*/ 616833 h 1537171"/>
              <a:gd name="connsiteX4" fmla="*/ 2220685 w 7534893"/>
              <a:gd name="connsiteY4" fmla="*/ 1311540 h 1537171"/>
              <a:gd name="connsiteX5" fmla="*/ 2535381 w 7534893"/>
              <a:gd name="connsiteY5" fmla="*/ 919654 h 1537171"/>
              <a:gd name="connsiteX6" fmla="*/ 3069771 w 7534893"/>
              <a:gd name="connsiteY6" fmla="*/ 616833 h 1537171"/>
              <a:gd name="connsiteX7" fmla="*/ 4055423 w 7534893"/>
              <a:gd name="connsiteY7" fmla="*/ 622771 h 1537171"/>
              <a:gd name="connsiteX8" fmla="*/ 5011387 w 7534893"/>
              <a:gd name="connsiteY8" fmla="*/ 23067 h 1537171"/>
              <a:gd name="connsiteX9" fmla="*/ 5314208 w 7534893"/>
              <a:gd name="connsiteY9" fmla="*/ 11192 h 1537171"/>
              <a:gd name="connsiteX10" fmla="*/ 7534893 w 7534893"/>
              <a:gd name="connsiteY10" fmla="*/ 1537171 h 1537171"/>
              <a:gd name="connsiteX11" fmla="*/ 7534893 w 7534893"/>
              <a:gd name="connsiteY11" fmla="*/ 1537171 h 1537171"/>
              <a:gd name="connsiteX0" fmla="*/ 0 w 7534893"/>
              <a:gd name="connsiteY0" fmla="*/ 884028 h 1537171"/>
              <a:gd name="connsiteX1" fmla="*/ 326571 w 7534893"/>
              <a:gd name="connsiteY1" fmla="*/ 17130 h 1537171"/>
              <a:gd name="connsiteX2" fmla="*/ 825335 w 7534893"/>
              <a:gd name="connsiteY2" fmla="*/ 616833 h 1537171"/>
              <a:gd name="connsiteX3" fmla="*/ 1609106 w 7534893"/>
              <a:gd name="connsiteY3" fmla="*/ 616833 h 1537171"/>
              <a:gd name="connsiteX4" fmla="*/ 2220685 w 7534893"/>
              <a:gd name="connsiteY4" fmla="*/ 1311540 h 1537171"/>
              <a:gd name="connsiteX5" fmla="*/ 2535381 w 7534893"/>
              <a:gd name="connsiteY5" fmla="*/ 919654 h 1537171"/>
              <a:gd name="connsiteX6" fmla="*/ 3069771 w 7534893"/>
              <a:gd name="connsiteY6" fmla="*/ 616833 h 1537171"/>
              <a:gd name="connsiteX7" fmla="*/ 4055423 w 7534893"/>
              <a:gd name="connsiteY7" fmla="*/ 622771 h 1537171"/>
              <a:gd name="connsiteX8" fmla="*/ 5011387 w 7534893"/>
              <a:gd name="connsiteY8" fmla="*/ 23067 h 1537171"/>
              <a:gd name="connsiteX9" fmla="*/ 5314208 w 7534893"/>
              <a:gd name="connsiteY9" fmla="*/ 11192 h 1537171"/>
              <a:gd name="connsiteX10" fmla="*/ 7534893 w 7534893"/>
              <a:gd name="connsiteY10" fmla="*/ 1537171 h 1537171"/>
              <a:gd name="connsiteX11" fmla="*/ 7534893 w 7534893"/>
              <a:gd name="connsiteY11" fmla="*/ 1537171 h 1537171"/>
              <a:gd name="connsiteX0" fmla="*/ 0 w 7534893"/>
              <a:gd name="connsiteY0" fmla="*/ 884028 h 1537171"/>
              <a:gd name="connsiteX1" fmla="*/ 326571 w 7534893"/>
              <a:gd name="connsiteY1" fmla="*/ 17130 h 1537171"/>
              <a:gd name="connsiteX2" fmla="*/ 825335 w 7534893"/>
              <a:gd name="connsiteY2" fmla="*/ 616833 h 1537171"/>
              <a:gd name="connsiteX3" fmla="*/ 1609106 w 7534893"/>
              <a:gd name="connsiteY3" fmla="*/ 616833 h 1537171"/>
              <a:gd name="connsiteX4" fmla="*/ 2220685 w 7534893"/>
              <a:gd name="connsiteY4" fmla="*/ 1311540 h 1537171"/>
              <a:gd name="connsiteX5" fmla="*/ 2535381 w 7534893"/>
              <a:gd name="connsiteY5" fmla="*/ 919654 h 1537171"/>
              <a:gd name="connsiteX6" fmla="*/ 3069771 w 7534893"/>
              <a:gd name="connsiteY6" fmla="*/ 616833 h 1537171"/>
              <a:gd name="connsiteX7" fmla="*/ 4055423 w 7534893"/>
              <a:gd name="connsiteY7" fmla="*/ 622771 h 1537171"/>
              <a:gd name="connsiteX8" fmla="*/ 5011387 w 7534893"/>
              <a:gd name="connsiteY8" fmla="*/ 23067 h 1537171"/>
              <a:gd name="connsiteX9" fmla="*/ 5314208 w 7534893"/>
              <a:gd name="connsiteY9" fmla="*/ 11192 h 1537171"/>
              <a:gd name="connsiteX10" fmla="*/ 7534893 w 7534893"/>
              <a:gd name="connsiteY10" fmla="*/ 1537171 h 1537171"/>
              <a:gd name="connsiteX11" fmla="*/ 7534893 w 7534893"/>
              <a:gd name="connsiteY11" fmla="*/ 1537171 h 1537171"/>
              <a:gd name="connsiteX0" fmla="*/ 0 w 7534893"/>
              <a:gd name="connsiteY0" fmla="*/ 889477 h 1542620"/>
              <a:gd name="connsiteX1" fmla="*/ 326571 w 7534893"/>
              <a:gd name="connsiteY1" fmla="*/ 22579 h 1542620"/>
              <a:gd name="connsiteX2" fmla="*/ 825335 w 7534893"/>
              <a:gd name="connsiteY2" fmla="*/ 622282 h 1542620"/>
              <a:gd name="connsiteX3" fmla="*/ 1609106 w 7534893"/>
              <a:gd name="connsiteY3" fmla="*/ 622282 h 1542620"/>
              <a:gd name="connsiteX4" fmla="*/ 2220685 w 7534893"/>
              <a:gd name="connsiteY4" fmla="*/ 1316989 h 1542620"/>
              <a:gd name="connsiteX5" fmla="*/ 2535381 w 7534893"/>
              <a:gd name="connsiteY5" fmla="*/ 925103 h 1542620"/>
              <a:gd name="connsiteX6" fmla="*/ 3069771 w 7534893"/>
              <a:gd name="connsiteY6" fmla="*/ 622282 h 1542620"/>
              <a:gd name="connsiteX7" fmla="*/ 4055423 w 7534893"/>
              <a:gd name="connsiteY7" fmla="*/ 628220 h 1542620"/>
              <a:gd name="connsiteX8" fmla="*/ 5011387 w 7534893"/>
              <a:gd name="connsiteY8" fmla="*/ 28516 h 1542620"/>
              <a:gd name="connsiteX9" fmla="*/ 5314208 w 7534893"/>
              <a:gd name="connsiteY9" fmla="*/ 16641 h 1542620"/>
              <a:gd name="connsiteX10" fmla="*/ 7534893 w 7534893"/>
              <a:gd name="connsiteY10" fmla="*/ 1542620 h 1542620"/>
              <a:gd name="connsiteX11" fmla="*/ 7534893 w 7534893"/>
              <a:gd name="connsiteY11" fmla="*/ 1542620 h 1542620"/>
              <a:gd name="connsiteX0" fmla="*/ 0 w 7534893"/>
              <a:gd name="connsiteY0" fmla="*/ 885690 h 1538833"/>
              <a:gd name="connsiteX1" fmla="*/ 326571 w 7534893"/>
              <a:gd name="connsiteY1" fmla="*/ 18792 h 1538833"/>
              <a:gd name="connsiteX2" fmla="*/ 825335 w 7534893"/>
              <a:gd name="connsiteY2" fmla="*/ 618495 h 1538833"/>
              <a:gd name="connsiteX3" fmla="*/ 1609106 w 7534893"/>
              <a:gd name="connsiteY3" fmla="*/ 618495 h 1538833"/>
              <a:gd name="connsiteX4" fmla="*/ 2220685 w 7534893"/>
              <a:gd name="connsiteY4" fmla="*/ 1313202 h 1538833"/>
              <a:gd name="connsiteX5" fmla="*/ 2535381 w 7534893"/>
              <a:gd name="connsiteY5" fmla="*/ 921316 h 1538833"/>
              <a:gd name="connsiteX6" fmla="*/ 3069771 w 7534893"/>
              <a:gd name="connsiteY6" fmla="*/ 618495 h 1538833"/>
              <a:gd name="connsiteX7" fmla="*/ 4055423 w 7534893"/>
              <a:gd name="connsiteY7" fmla="*/ 624433 h 1538833"/>
              <a:gd name="connsiteX8" fmla="*/ 5011387 w 7534893"/>
              <a:gd name="connsiteY8" fmla="*/ 24729 h 1538833"/>
              <a:gd name="connsiteX9" fmla="*/ 5314208 w 7534893"/>
              <a:gd name="connsiteY9" fmla="*/ 12854 h 1538833"/>
              <a:gd name="connsiteX10" fmla="*/ 7534893 w 7534893"/>
              <a:gd name="connsiteY10" fmla="*/ 1538833 h 1538833"/>
              <a:gd name="connsiteX11" fmla="*/ 7534893 w 7534893"/>
              <a:gd name="connsiteY11" fmla="*/ 1538833 h 1538833"/>
              <a:gd name="connsiteX0" fmla="*/ 0 w 7534893"/>
              <a:gd name="connsiteY0" fmla="*/ 876849 h 1529992"/>
              <a:gd name="connsiteX1" fmla="*/ 326571 w 7534893"/>
              <a:gd name="connsiteY1" fmla="*/ 9951 h 1529992"/>
              <a:gd name="connsiteX2" fmla="*/ 825335 w 7534893"/>
              <a:gd name="connsiteY2" fmla="*/ 609654 h 1529992"/>
              <a:gd name="connsiteX3" fmla="*/ 1609106 w 7534893"/>
              <a:gd name="connsiteY3" fmla="*/ 609654 h 1529992"/>
              <a:gd name="connsiteX4" fmla="*/ 2220685 w 7534893"/>
              <a:gd name="connsiteY4" fmla="*/ 1304361 h 1529992"/>
              <a:gd name="connsiteX5" fmla="*/ 2535381 w 7534893"/>
              <a:gd name="connsiteY5" fmla="*/ 912475 h 1529992"/>
              <a:gd name="connsiteX6" fmla="*/ 3069771 w 7534893"/>
              <a:gd name="connsiteY6" fmla="*/ 609654 h 1529992"/>
              <a:gd name="connsiteX7" fmla="*/ 4055423 w 7534893"/>
              <a:gd name="connsiteY7" fmla="*/ 615592 h 1529992"/>
              <a:gd name="connsiteX8" fmla="*/ 5011387 w 7534893"/>
              <a:gd name="connsiteY8" fmla="*/ 15888 h 1529992"/>
              <a:gd name="connsiteX9" fmla="*/ 5314208 w 7534893"/>
              <a:gd name="connsiteY9" fmla="*/ 4013 h 1529992"/>
              <a:gd name="connsiteX10" fmla="*/ 7534893 w 7534893"/>
              <a:gd name="connsiteY10" fmla="*/ 1529992 h 1529992"/>
              <a:gd name="connsiteX11" fmla="*/ 7534893 w 7534893"/>
              <a:gd name="connsiteY11" fmla="*/ 1529992 h 1529992"/>
              <a:gd name="connsiteX0" fmla="*/ 0 w 7534893"/>
              <a:gd name="connsiteY0" fmla="*/ 879284 h 1532427"/>
              <a:gd name="connsiteX1" fmla="*/ 326571 w 7534893"/>
              <a:gd name="connsiteY1" fmla="*/ 12386 h 1532427"/>
              <a:gd name="connsiteX2" fmla="*/ 825335 w 7534893"/>
              <a:gd name="connsiteY2" fmla="*/ 612089 h 1532427"/>
              <a:gd name="connsiteX3" fmla="*/ 1609106 w 7534893"/>
              <a:gd name="connsiteY3" fmla="*/ 612089 h 1532427"/>
              <a:gd name="connsiteX4" fmla="*/ 2220685 w 7534893"/>
              <a:gd name="connsiteY4" fmla="*/ 1306796 h 1532427"/>
              <a:gd name="connsiteX5" fmla="*/ 2535381 w 7534893"/>
              <a:gd name="connsiteY5" fmla="*/ 914910 h 1532427"/>
              <a:gd name="connsiteX6" fmla="*/ 3069771 w 7534893"/>
              <a:gd name="connsiteY6" fmla="*/ 612089 h 1532427"/>
              <a:gd name="connsiteX7" fmla="*/ 4055423 w 7534893"/>
              <a:gd name="connsiteY7" fmla="*/ 618027 h 1532427"/>
              <a:gd name="connsiteX8" fmla="*/ 5011387 w 7534893"/>
              <a:gd name="connsiteY8" fmla="*/ 18323 h 1532427"/>
              <a:gd name="connsiteX9" fmla="*/ 5314208 w 7534893"/>
              <a:gd name="connsiteY9" fmla="*/ 6448 h 1532427"/>
              <a:gd name="connsiteX10" fmla="*/ 7534893 w 7534893"/>
              <a:gd name="connsiteY10" fmla="*/ 1532427 h 1532427"/>
              <a:gd name="connsiteX11" fmla="*/ 7534893 w 7534893"/>
              <a:gd name="connsiteY11" fmla="*/ 1532427 h 1532427"/>
              <a:gd name="connsiteX0" fmla="*/ 0 w 7534893"/>
              <a:gd name="connsiteY0" fmla="*/ 881368 h 1534511"/>
              <a:gd name="connsiteX1" fmla="*/ 326571 w 7534893"/>
              <a:gd name="connsiteY1" fmla="*/ 14470 h 1534511"/>
              <a:gd name="connsiteX2" fmla="*/ 825335 w 7534893"/>
              <a:gd name="connsiteY2" fmla="*/ 614173 h 1534511"/>
              <a:gd name="connsiteX3" fmla="*/ 1609106 w 7534893"/>
              <a:gd name="connsiteY3" fmla="*/ 614173 h 1534511"/>
              <a:gd name="connsiteX4" fmla="*/ 2220685 w 7534893"/>
              <a:gd name="connsiteY4" fmla="*/ 1308880 h 1534511"/>
              <a:gd name="connsiteX5" fmla="*/ 2535381 w 7534893"/>
              <a:gd name="connsiteY5" fmla="*/ 916994 h 1534511"/>
              <a:gd name="connsiteX6" fmla="*/ 3069771 w 7534893"/>
              <a:gd name="connsiteY6" fmla="*/ 614173 h 1534511"/>
              <a:gd name="connsiteX7" fmla="*/ 4055423 w 7534893"/>
              <a:gd name="connsiteY7" fmla="*/ 620111 h 1534511"/>
              <a:gd name="connsiteX8" fmla="*/ 5011387 w 7534893"/>
              <a:gd name="connsiteY8" fmla="*/ 20407 h 1534511"/>
              <a:gd name="connsiteX9" fmla="*/ 5314208 w 7534893"/>
              <a:gd name="connsiteY9" fmla="*/ 8532 h 1534511"/>
              <a:gd name="connsiteX10" fmla="*/ 7534893 w 7534893"/>
              <a:gd name="connsiteY10" fmla="*/ 1534511 h 1534511"/>
              <a:gd name="connsiteX11" fmla="*/ 7534893 w 7534893"/>
              <a:gd name="connsiteY11" fmla="*/ 1534511 h 1534511"/>
              <a:gd name="connsiteX0" fmla="*/ 0 w 7534893"/>
              <a:gd name="connsiteY0" fmla="*/ 881368 h 1534511"/>
              <a:gd name="connsiteX1" fmla="*/ 326571 w 7534893"/>
              <a:gd name="connsiteY1" fmla="*/ 14470 h 1534511"/>
              <a:gd name="connsiteX2" fmla="*/ 825335 w 7534893"/>
              <a:gd name="connsiteY2" fmla="*/ 614173 h 1534511"/>
              <a:gd name="connsiteX3" fmla="*/ 1609106 w 7534893"/>
              <a:gd name="connsiteY3" fmla="*/ 614173 h 1534511"/>
              <a:gd name="connsiteX4" fmla="*/ 2220685 w 7534893"/>
              <a:gd name="connsiteY4" fmla="*/ 1308880 h 1534511"/>
              <a:gd name="connsiteX5" fmla="*/ 2535381 w 7534893"/>
              <a:gd name="connsiteY5" fmla="*/ 916994 h 1534511"/>
              <a:gd name="connsiteX6" fmla="*/ 3069771 w 7534893"/>
              <a:gd name="connsiteY6" fmla="*/ 614173 h 1534511"/>
              <a:gd name="connsiteX7" fmla="*/ 4055423 w 7534893"/>
              <a:gd name="connsiteY7" fmla="*/ 620111 h 1534511"/>
              <a:gd name="connsiteX8" fmla="*/ 5011387 w 7534893"/>
              <a:gd name="connsiteY8" fmla="*/ 20407 h 1534511"/>
              <a:gd name="connsiteX9" fmla="*/ 5314208 w 7534893"/>
              <a:gd name="connsiteY9" fmla="*/ 8532 h 1534511"/>
              <a:gd name="connsiteX10" fmla="*/ 7534893 w 7534893"/>
              <a:gd name="connsiteY10" fmla="*/ 1534511 h 1534511"/>
              <a:gd name="connsiteX11" fmla="*/ 7534893 w 7534893"/>
              <a:gd name="connsiteY11" fmla="*/ 1534511 h 1534511"/>
              <a:gd name="connsiteX0" fmla="*/ 0 w 7534893"/>
              <a:gd name="connsiteY0" fmla="*/ 881368 h 1534511"/>
              <a:gd name="connsiteX1" fmla="*/ 326571 w 7534893"/>
              <a:gd name="connsiteY1" fmla="*/ 14470 h 1534511"/>
              <a:gd name="connsiteX2" fmla="*/ 825335 w 7534893"/>
              <a:gd name="connsiteY2" fmla="*/ 614173 h 1534511"/>
              <a:gd name="connsiteX3" fmla="*/ 1609106 w 7534893"/>
              <a:gd name="connsiteY3" fmla="*/ 614173 h 1534511"/>
              <a:gd name="connsiteX4" fmla="*/ 2220685 w 7534893"/>
              <a:gd name="connsiteY4" fmla="*/ 1308880 h 1534511"/>
              <a:gd name="connsiteX5" fmla="*/ 2535381 w 7534893"/>
              <a:gd name="connsiteY5" fmla="*/ 916994 h 1534511"/>
              <a:gd name="connsiteX6" fmla="*/ 3069771 w 7534893"/>
              <a:gd name="connsiteY6" fmla="*/ 614173 h 1534511"/>
              <a:gd name="connsiteX7" fmla="*/ 4055423 w 7534893"/>
              <a:gd name="connsiteY7" fmla="*/ 620111 h 1534511"/>
              <a:gd name="connsiteX8" fmla="*/ 5011387 w 7534893"/>
              <a:gd name="connsiteY8" fmla="*/ 20407 h 1534511"/>
              <a:gd name="connsiteX9" fmla="*/ 5314208 w 7534893"/>
              <a:gd name="connsiteY9" fmla="*/ 8532 h 1534511"/>
              <a:gd name="connsiteX10" fmla="*/ 7534893 w 7534893"/>
              <a:gd name="connsiteY10" fmla="*/ 1534511 h 1534511"/>
              <a:gd name="connsiteX11" fmla="*/ 7534893 w 7534893"/>
              <a:gd name="connsiteY11" fmla="*/ 1534511 h 1534511"/>
              <a:gd name="connsiteX0" fmla="*/ 0 w 7534893"/>
              <a:gd name="connsiteY0" fmla="*/ 881368 h 1534511"/>
              <a:gd name="connsiteX1" fmla="*/ 326571 w 7534893"/>
              <a:gd name="connsiteY1" fmla="*/ 14470 h 1534511"/>
              <a:gd name="connsiteX2" fmla="*/ 825335 w 7534893"/>
              <a:gd name="connsiteY2" fmla="*/ 614173 h 1534511"/>
              <a:gd name="connsiteX3" fmla="*/ 1609106 w 7534893"/>
              <a:gd name="connsiteY3" fmla="*/ 614173 h 1534511"/>
              <a:gd name="connsiteX4" fmla="*/ 2220685 w 7534893"/>
              <a:gd name="connsiteY4" fmla="*/ 1308880 h 1534511"/>
              <a:gd name="connsiteX5" fmla="*/ 2535381 w 7534893"/>
              <a:gd name="connsiteY5" fmla="*/ 916994 h 1534511"/>
              <a:gd name="connsiteX6" fmla="*/ 3069771 w 7534893"/>
              <a:gd name="connsiteY6" fmla="*/ 614173 h 1534511"/>
              <a:gd name="connsiteX7" fmla="*/ 4055423 w 7534893"/>
              <a:gd name="connsiteY7" fmla="*/ 620111 h 1534511"/>
              <a:gd name="connsiteX8" fmla="*/ 5011387 w 7534893"/>
              <a:gd name="connsiteY8" fmla="*/ 20407 h 1534511"/>
              <a:gd name="connsiteX9" fmla="*/ 5314208 w 7534893"/>
              <a:gd name="connsiteY9" fmla="*/ 8532 h 1534511"/>
              <a:gd name="connsiteX10" fmla="*/ 7534893 w 7534893"/>
              <a:gd name="connsiteY10" fmla="*/ 1534511 h 1534511"/>
              <a:gd name="connsiteX11" fmla="*/ 7534893 w 7534893"/>
              <a:gd name="connsiteY11" fmla="*/ 1534511 h 1534511"/>
              <a:gd name="connsiteX0" fmla="*/ 0 w 7534893"/>
              <a:gd name="connsiteY0" fmla="*/ 881368 h 1534511"/>
              <a:gd name="connsiteX1" fmla="*/ 326571 w 7534893"/>
              <a:gd name="connsiteY1" fmla="*/ 14470 h 1534511"/>
              <a:gd name="connsiteX2" fmla="*/ 825335 w 7534893"/>
              <a:gd name="connsiteY2" fmla="*/ 614173 h 1534511"/>
              <a:gd name="connsiteX3" fmla="*/ 1609106 w 7534893"/>
              <a:gd name="connsiteY3" fmla="*/ 614173 h 1534511"/>
              <a:gd name="connsiteX4" fmla="*/ 2220685 w 7534893"/>
              <a:gd name="connsiteY4" fmla="*/ 1308880 h 1534511"/>
              <a:gd name="connsiteX5" fmla="*/ 2535381 w 7534893"/>
              <a:gd name="connsiteY5" fmla="*/ 916994 h 1534511"/>
              <a:gd name="connsiteX6" fmla="*/ 3069771 w 7534893"/>
              <a:gd name="connsiteY6" fmla="*/ 614173 h 1534511"/>
              <a:gd name="connsiteX7" fmla="*/ 4055423 w 7534893"/>
              <a:gd name="connsiteY7" fmla="*/ 620111 h 1534511"/>
              <a:gd name="connsiteX8" fmla="*/ 5011387 w 7534893"/>
              <a:gd name="connsiteY8" fmla="*/ 20407 h 1534511"/>
              <a:gd name="connsiteX9" fmla="*/ 5314208 w 7534893"/>
              <a:gd name="connsiteY9" fmla="*/ 8532 h 1534511"/>
              <a:gd name="connsiteX10" fmla="*/ 7534893 w 7534893"/>
              <a:gd name="connsiteY10" fmla="*/ 1534511 h 1534511"/>
              <a:gd name="connsiteX11" fmla="*/ 7534893 w 7534893"/>
              <a:gd name="connsiteY11" fmla="*/ 1534511 h 1534511"/>
              <a:gd name="connsiteX0" fmla="*/ 0 w 7534893"/>
              <a:gd name="connsiteY0" fmla="*/ 887684 h 1540827"/>
              <a:gd name="connsiteX1" fmla="*/ 326571 w 7534893"/>
              <a:gd name="connsiteY1" fmla="*/ 20786 h 1540827"/>
              <a:gd name="connsiteX2" fmla="*/ 825335 w 7534893"/>
              <a:gd name="connsiteY2" fmla="*/ 620489 h 1540827"/>
              <a:gd name="connsiteX3" fmla="*/ 1609106 w 7534893"/>
              <a:gd name="connsiteY3" fmla="*/ 620489 h 1540827"/>
              <a:gd name="connsiteX4" fmla="*/ 2220685 w 7534893"/>
              <a:gd name="connsiteY4" fmla="*/ 1315196 h 1540827"/>
              <a:gd name="connsiteX5" fmla="*/ 2535381 w 7534893"/>
              <a:gd name="connsiteY5" fmla="*/ 923310 h 1540827"/>
              <a:gd name="connsiteX6" fmla="*/ 3069771 w 7534893"/>
              <a:gd name="connsiteY6" fmla="*/ 620489 h 1540827"/>
              <a:gd name="connsiteX7" fmla="*/ 4055423 w 7534893"/>
              <a:gd name="connsiteY7" fmla="*/ 626427 h 1540827"/>
              <a:gd name="connsiteX8" fmla="*/ 5011387 w 7534893"/>
              <a:gd name="connsiteY8" fmla="*/ 26723 h 1540827"/>
              <a:gd name="connsiteX9" fmla="*/ 5314208 w 7534893"/>
              <a:gd name="connsiteY9" fmla="*/ 14848 h 1540827"/>
              <a:gd name="connsiteX10" fmla="*/ 7534893 w 7534893"/>
              <a:gd name="connsiteY10" fmla="*/ 1540827 h 1540827"/>
              <a:gd name="connsiteX11" fmla="*/ 7534893 w 7534893"/>
              <a:gd name="connsiteY11" fmla="*/ 1540827 h 1540827"/>
              <a:gd name="connsiteX0" fmla="*/ 0 w 7534893"/>
              <a:gd name="connsiteY0" fmla="*/ 881369 h 1534512"/>
              <a:gd name="connsiteX1" fmla="*/ 326571 w 7534893"/>
              <a:gd name="connsiteY1" fmla="*/ 14471 h 1534512"/>
              <a:gd name="connsiteX2" fmla="*/ 825335 w 7534893"/>
              <a:gd name="connsiteY2" fmla="*/ 614174 h 1534512"/>
              <a:gd name="connsiteX3" fmla="*/ 1609106 w 7534893"/>
              <a:gd name="connsiteY3" fmla="*/ 614174 h 1534512"/>
              <a:gd name="connsiteX4" fmla="*/ 2220685 w 7534893"/>
              <a:gd name="connsiteY4" fmla="*/ 1308881 h 1534512"/>
              <a:gd name="connsiteX5" fmla="*/ 2535381 w 7534893"/>
              <a:gd name="connsiteY5" fmla="*/ 916995 h 1534512"/>
              <a:gd name="connsiteX6" fmla="*/ 3069771 w 7534893"/>
              <a:gd name="connsiteY6" fmla="*/ 614174 h 1534512"/>
              <a:gd name="connsiteX7" fmla="*/ 4055423 w 7534893"/>
              <a:gd name="connsiteY7" fmla="*/ 620112 h 1534512"/>
              <a:gd name="connsiteX8" fmla="*/ 5011387 w 7534893"/>
              <a:gd name="connsiteY8" fmla="*/ 20408 h 1534512"/>
              <a:gd name="connsiteX9" fmla="*/ 5314208 w 7534893"/>
              <a:gd name="connsiteY9" fmla="*/ 8533 h 1534512"/>
              <a:gd name="connsiteX10" fmla="*/ 7534893 w 7534893"/>
              <a:gd name="connsiteY10" fmla="*/ 1534512 h 1534512"/>
              <a:gd name="connsiteX11" fmla="*/ 7534893 w 7534893"/>
              <a:gd name="connsiteY11" fmla="*/ 1534512 h 1534512"/>
              <a:gd name="connsiteX0" fmla="*/ 0 w 7534893"/>
              <a:gd name="connsiteY0" fmla="*/ 886035 h 1539178"/>
              <a:gd name="connsiteX1" fmla="*/ 326571 w 7534893"/>
              <a:gd name="connsiteY1" fmla="*/ 19137 h 1539178"/>
              <a:gd name="connsiteX2" fmla="*/ 825335 w 7534893"/>
              <a:gd name="connsiteY2" fmla="*/ 618840 h 1539178"/>
              <a:gd name="connsiteX3" fmla="*/ 1609106 w 7534893"/>
              <a:gd name="connsiteY3" fmla="*/ 618840 h 1539178"/>
              <a:gd name="connsiteX4" fmla="*/ 2220685 w 7534893"/>
              <a:gd name="connsiteY4" fmla="*/ 1313547 h 1539178"/>
              <a:gd name="connsiteX5" fmla="*/ 2535381 w 7534893"/>
              <a:gd name="connsiteY5" fmla="*/ 921661 h 1539178"/>
              <a:gd name="connsiteX6" fmla="*/ 3069771 w 7534893"/>
              <a:gd name="connsiteY6" fmla="*/ 618840 h 1539178"/>
              <a:gd name="connsiteX7" fmla="*/ 4055423 w 7534893"/>
              <a:gd name="connsiteY7" fmla="*/ 624778 h 1539178"/>
              <a:gd name="connsiteX8" fmla="*/ 5011387 w 7534893"/>
              <a:gd name="connsiteY8" fmla="*/ 25074 h 1539178"/>
              <a:gd name="connsiteX9" fmla="*/ 5314208 w 7534893"/>
              <a:gd name="connsiteY9" fmla="*/ 13199 h 1539178"/>
              <a:gd name="connsiteX10" fmla="*/ 7534893 w 7534893"/>
              <a:gd name="connsiteY10" fmla="*/ 1539178 h 1539178"/>
              <a:gd name="connsiteX11" fmla="*/ 7534893 w 7534893"/>
              <a:gd name="connsiteY11" fmla="*/ 1539178 h 1539178"/>
              <a:gd name="connsiteX0" fmla="*/ 0 w 7534893"/>
              <a:gd name="connsiteY0" fmla="*/ 879443 h 1532586"/>
              <a:gd name="connsiteX1" fmla="*/ 326571 w 7534893"/>
              <a:gd name="connsiteY1" fmla="*/ 12545 h 1532586"/>
              <a:gd name="connsiteX2" fmla="*/ 825335 w 7534893"/>
              <a:gd name="connsiteY2" fmla="*/ 612248 h 1532586"/>
              <a:gd name="connsiteX3" fmla="*/ 1609106 w 7534893"/>
              <a:gd name="connsiteY3" fmla="*/ 612248 h 1532586"/>
              <a:gd name="connsiteX4" fmla="*/ 2220685 w 7534893"/>
              <a:gd name="connsiteY4" fmla="*/ 1306955 h 1532586"/>
              <a:gd name="connsiteX5" fmla="*/ 2535381 w 7534893"/>
              <a:gd name="connsiteY5" fmla="*/ 915069 h 1532586"/>
              <a:gd name="connsiteX6" fmla="*/ 3069771 w 7534893"/>
              <a:gd name="connsiteY6" fmla="*/ 612248 h 1532586"/>
              <a:gd name="connsiteX7" fmla="*/ 4055423 w 7534893"/>
              <a:gd name="connsiteY7" fmla="*/ 618186 h 1532586"/>
              <a:gd name="connsiteX8" fmla="*/ 4983314 w 7534893"/>
              <a:gd name="connsiteY8" fmla="*/ 42546 h 1532586"/>
              <a:gd name="connsiteX9" fmla="*/ 5314208 w 7534893"/>
              <a:gd name="connsiteY9" fmla="*/ 6607 h 1532586"/>
              <a:gd name="connsiteX10" fmla="*/ 7534893 w 7534893"/>
              <a:gd name="connsiteY10" fmla="*/ 1532586 h 1532586"/>
              <a:gd name="connsiteX11" fmla="*/ 7534893 w 7534893"/>
              <a:gd name="connsiteY11" fmla="*/ 1532586 h 1532586"/>
              <a:gd name="connsiteX0" fmla="*/ 0 w 7534893"/>
              <a:gd name="connsiteY0" fmla="*/ 884340 h 1537483"/>
              <a:gd name="connsiteX1" fmla="*/ 326571 w 7534893"/>
              <a:gd name="connsiteY1" fmla="*/ 17442 h 1537483"/>
              <a:gd name="connsiteX2" fmla="*/ 825335 w 7534893"/>
              <a:gd name="connsiteY2" fmla="*/ 617145 h 1537483"/>
              <a:gd name="connsiteX3" fmla="*/ 1609106 w 7534893"/>
              <a:gd name="connsiteY3" fmla="*/ 617145 h 1537483"/>
              <a:gd name="connsiteX4" fmla="*/ 2220685 w 7534893"/>
              <a:gd name="connsiteY4" fmla="*/ 1311852 h 1537483"/>
              <a:gd name="connsiteX5" fmla="*/ 2535381 w 7534893"/>
              <a:gd name="connsiteY5" fmla="*/ 919966 h 1537483"/>
              <a:gd name="connsiteX6" fmla="*/ 3069771 w 7534893"/>
              <a:gd name="connsiteY6" fmla="*/ 617145 h 1537483"/>
              <a:gd name="connsiteX7" fmla="*/ 4055423 w 7534893"/>
              <a:gd name="connsiteY7" fmla="*/ 623083 h 1537483"/>
              <a:gd name="connsiteX8" fmla="*/ 4983314 w 7534893"/>
              <a:gd name="connsiteY8" fmla="*/ 47443 h 1537483"/>
              <a:gd name="connsiteX9" fmla="*/ 5314208 w 7534893"/>
              <a:gd name="connsiteY9" fmla="*/ 11504 h 1537483"/>
              <a:gd name="connsiteX10" fmla="*/ 7534893 w 7534893"/>
              <a:gd name="connsiteY10" fmla="*/ 1537483 h 1537483"/>
              <a:gd name="connsiteX11" fmla="*/ 7534893 w 7534893"/>
              <a:gd name="connsiteY11" fmla="*/ 1537483 h 1537483"/>
              <a:gd name="connsiteX0" fmla="*/ 0 w 7534893"/>
              <a:gd name="connsiteY0" fmla="*/ 887266 h 1540409"/>
              <a:gd name="connsiteX1" fmla="*/ 326571 w 7534893"/>
              <a:gd name="connsiteY1" fmla="*/ 20368 h 1540409"/>
              <a:gd name="connsiteX2" fmla="*/ 825335 w 7534893"/>
              <a:gd name="connsiteY2" fmla="*/ 620071 h 1540409"/>
              <a:gd name="connsiteX3" fmla="*/ 1609106 w 7534893"/>
              <a:gd name="connsiteY3" fmla="*/ 620071 h 1540409"/>
              <a:gd name="connsiteX4" fmla="*/ 2220685 w 7534893"/>
              <a:gd name="connsiteY4" fmla="*/ 1314778 h 1540409"/>
              <a:gd name="connsiteX5" fmla="*/ 2535381 w 7534893"/>
              <a:gd name="connsiteY5" fmla="*/ 922892 h 1540409"/>
              <a:gd name="connsiteX6" fmla="*/ 3069771 w 7534893"/>
              <a:gd name="connsiteY6" fmla="*/ 620071 h 1540409"/>
              <a:gd name="connsiteX7" fmla="*/ 4055423 w 7534893"/>
              <a:gd name="connsiteY7" fmla="*/ 626009 h 1540409"/>
              <a:gd name="connsiteX8" fmla="*/ 4983314 w 7534893"/>
              <a:gd name="connsiteY8" fmla="*/ 42348 h 1540409"/>
              <a:gd name="connsiteX9" fmla="*/ 5314208 w 7534893"/>
              <a:gd name="connsiteY9" fmla="*/ 14430 h 1540409"/>
              <a:gd name="connsiteX10" fmla="*/ 7534893 w 7534893"/>
              <a:gd name="connsiteY10" fmla="*/ 1540409 h 1540409"/>
              <a:gd name="connsiteX11" fmla="*/ 7534893 w 7534893"/>
              <a:gd name="connsiteY11" fmla="*/ 1540409 h 1540409"/>
              <a:gd name="connsiteX0" fmla="*/ 0 w 7534893"/>
              <a:gd name="connsiteY0" fmla="*/ 883705 h 1536848"/>
              <a:gd name="connsiteX1" fmla="*/ 326571 w 7534893"/>
              <a:gd name="connsiteY1" fmla="*/ 16807 h 1536848"/>
              <a:gd name="connsiteX2" fmla="*/ 825335 w 7534893"/>
              <a:gd name="connsiteY2" fmla="*/ 616510 h 1536848"/>
              <a:gd name="connsiteX3" fmla="*/ 1609106 w 7534893"/>
              <a:gd name="connsiteY3" fmla="*/ 616510 h 1536848"/>
              <a:gd name="connsiteX4" fmla="*/ 2220685 w 7534893"/>
              <a:gd name="connsiteY4" fmla="*/ 1311217 h 1536848"/>
              <a:gd name="connsiteX5" fmla="*/ 2535381 w 7534893"/>
              <a:gd name="connsiteY5" fmla="*/ 919331 h 1536848"/>
              <a:gd name="connsiteX6" fmla="*/ 3069771 w 7534893"/>
              <a:gd name="connsiteY6" fmla="*/ 616510 h 1536848"/>
              <a:gd name="connsiteX7" fmla="*/ 4055423 w 7534893"/>
              <a:gd name="connsiteY7" fmla="*/ 622448 h 1536848"/>
              <a:gd name="connsiteX8" fmla="*/ 4983314 w 7534893"/>
              <a:gd name="connsiteY8" fmla="*/ 38787 h 1536848"/>
              <a:gd name="connsiteX9" fmla="*/ 5314208 w 7534893"/>
              <a:gd name="connsiteY9" fmla="*/ 10869 h 1536848"/>
              <a:gd name="connsiteX10" fmla="*/ 7534893 w 7534893"/>
              <a:gd name="connsiteY10" fmla="*/ 1536848 h 1536848"/>
              <a:gd name="connsiteX11" fmla="*/ 7534893 w 7534893"/>
              <a:gd name="connsiteY11" fmla="*/ 1536848 h 1536848"/>
              <a:gd name="connsiteX0" fmla="*/ 0 w 7534893"/>
              <a:gd name="connsiteY0" fmla="*/ 892544 h 1545687"/>
              <a:gd name="connsiteX1" fmla="*/ 326571 w 7534893"/>
              <a:gd name="connsiteY1" fmla="*/ 25646 h 1545687"/>
              <a:gd name="connsiteX2" fmla="*/ 825335 w 7534893"/>
              <a:gd name="connsiteY2" fmla="*/ 625349 h 1545687"/>
              <a:gd name="connsiteX3" fmla="*/ 1609106 w 7534893"/>
              <a:gd name="connsiteY3" fmla="*/ 625349 h 1545687"/>
              <a:gd name="connsiteX4" fmla="*/ 2220685 w 7534893"/>
              <a:gd name="connsiteY4" fmla="*/ 1320056 h 1545687"/>
              <a:gd name="connsiteX5" fmla="*/ 2535381 w 7534893"/>
              <a:gd name="connsiteY5" fmla="*/ 928170 h 1545687"/>
              <a:gd name="connsiteX6" fmla="*/ 3069771 w 7534893"/>
              <a:gd name="connsiteY6" fmla="*/ 625349 h 1545687"/>
              <a:gd name="connsiteX7" fmla="*/ 4055423 w 7534893"/>
              <a:gd name="connsiteY7" fmla="*/ 631287 h 1545687"/>
              <a:gd name="connsiteX8" fmla="*/ 5015398 w 7534893"/>
              <a:gd name="connsiteY8" fmla="*/ 27573 h 1545687"/>
              <a:gd name="connsiteX9" fmla="*/ 5314208 w 7534893"/>
              <a:gd name="connsiteY9" fmla="*/ 19708 h 1545687"/>
              <a:gd name="connsiteX10" fmla="*/ 7534893 w 7534893"/>
              <a:gd name="connsiteY10" fmla="*/ 1545687 h 1545687"/>
              <a:gd name="connsiteX11" fmla="*/ 7534893 w 7534893"/>
              <a:gd name="connsiteY11" fmla="*/ 1545687 h 1545687"/>
              <a:gd name="connsiteX0" fmla="*/ 0 w 7534893"/>
              <a:gd name="connsiteY0" fmla="*/ 885063 h 1538206"/>
              <a:gd name="connsiteX1" fmla="*/ 326571 w 7534893"/>
              <a:gd name="connsiteY1" fmla="*/ 18165 h 1538206"/>
              <a:gd name="connsiteX2" fmla="*/ 825335 w 7534893"/>
              <a:gd name="connsiteY2" fmla="*/ 617868 h 1538206"/>
              <a:gd name="connsiteX3" fmla="*/ 1609106 w 7534893"/>
              <a:gd name="connsiteY3" fmla="*/ 617868 h 1538206"/>
              <a:gd name="connsiteX4" fmla="*/ 2220685 w 7534893"/>
              <a:gd name="connsiteY4" fmla="*/ 1312575 h 1538206"/>
              <a:gd name="connsiteX5" fmla="*/ 2535381 w 7534893"/>
              <a:gd name="connsiteY5" fmla="*/ 920689 h 1538206"/>
              <a:gd name="connsiteX6" fmla="*/ 3069771 w 7534893"/>
              <a:gd name="connsiteY6" fmla="*/ 617868 h 1538206"/>
              <a:gd name="connsiteX7" fmla="*/ 4055423 w 7534893"/>
              <a:gd name="connsiteY7" fmla="*/ 623806 h 1538206"/>
              <a:gd name="connsiteX8" fmla="*/ 5015398 w 7534893"/>
              <a:gd name="connsiteY8" fmla="*/ 20092 h 1538206"/>
              <a:gd name="connsiteX9" fmla="*/ 5314208 w 7534893"/>
              <a:gd name="connsiteY9" fmla="*/ 12227 h 1538206"/>
              <a:gd name="connsiteX10" fmla="*/ 7534893 w 7534893"/>
              <a:gd name="connsiteY10" fmla="*/ 1538206 h 1538206"/>
              <a:gd name="connsiteX11" fmla="*/ 7534893 w 7534893"/>
              <a:gd name="connsiteY11" fmla="*/ 1538206 h 1538206"/>
              <a:gd name="connsiteX0" fmla="*/ 0 w 7534893"/>
              <a:gd name="connsiteY0" fmla="*/ 885063 h 1538206"/>
              <a:gd name="connsiteX1" fmla="*/ 326571 w 7534893"/>
              <a:gd name="connsiteY1" fmla="*/ 18165 h 1538206"/>
              <a:gd name="connsiteX2" fmla="*/ 825335 w 7534893"/>
              <a:gd name="connsiteY2" fmla="*/ 617868 h 1538206"/>
              <a:gd name="connsiteX3" fmla="*/ 1609106 w 7534893"/>
              <a:gd name="connsiteY3" fmla="*/ 617868 h 1538206"/>
              <a:gd name="connsiteX4" fmla="*/ 2220685 w 7534893"/>
              <a:gd name="connsiteY4" fmla="*/ 1312575 h 1538206"/>
              <a:gd name="connsiteX5" fmla="*/ 2535381 w 7534893"/>
              <a:gd name="connsiteY5" fmla="*/ 920689 h 1538206"/>
              <a:gd name="connsiteX6" fmla="*/ 3069771 w 7534893"/>
              <a:gd name="connsiteY6" fmla="*/ 617868 h 1538206"/>
              <a:gd name="connsiteX7" fmla="*/ 4055423 w 7534893"/>
              <a:gd name="connsiteY7" fmla="*/ 623806 h 1538206"/>
              <a:gd name="connsiteX8" fmla="*/ 5015398 w 7534893"/>
              <a:gd name="connsiteY8" fmla="*/ 20092 h 1538206"/>
              <a:gd name="connsiteX9" fmla="*/ 5314208 w 7534893"/>
              <a:gd name="connsiteY9" fmla="*/ 12227 h 1538206"/>
              <a:gd name="connsiteX10" fmla="*/ 7534893 w 7534893"/>
              <a:gd name="connsiteY10" fmla="*/ 1538206 h 1538206"/>
              <a:gd name="connsiteX11" fmla="*/ 7534893 w 7534893"/>
              <a:gd name="connsiteY11" fmla="*/ 1538206 h 1538206"/>
              <a:gd name="connsiteX0" fmla="*/ 0 w 7534893"/>
              <a:gd name="connsiteY0" fmla="*/ 882863 h 1536006"/>
              <a:gd name="connsiteX1" fmla="*/ 326571 w 7534893"/>
              <a:gd name="connsiteY1" fmla="*/ 15965 h 1536006"/>
              <a:gd name="connsiteX2" fmla="*/ 825335 w 7534893"/>
              <a:gd name="connsiteY2" fmla="*/ 615668 h 1536006"/>
              <a:gd name="connsiteX3" fmla="*/ 1609106 w 7534893"/>
              <a:gd name="connsiteY3" fmla="*/ 615668 h 1536006"/>
              <a:gd name="connsiteX4" fmla="*/ 2220685 w 7534893"/>
              <a:gd name="connsiteY4" fmla="*/ 1310375 h 1536006"/>
              <a:gd name="connsiteX5" fmla="*/ 2535381 w 7534893"/>
              <a:gd name="connsiteY5" fmla="*/ 918489 h 1536006"/>
              <a:gd name="connsiteX6" fmla="*/ 3069771 w 7534893"/>
              <a:gd name="connsiteY6" fmla="*/ 615668 h 1536006"/>
              <a:gd name="connsiteX7" fmla="*/ 4055423 w 7534893"/>
              <a:gd name="connsiteY7" fmla="*/ 621606 h 1536006"/>
              <a:gd name="connsiteX8" fmla="*/ 5015398 w 7534893"/>
              <a:gd name="connsiteY8" fmla="*/ 17892 h 1536006"/>
              <a:gd name="connsiteX9" fmla="*/ 5322229 w 7534893"/>
              <a:gd name="connsiteY9" fmla="*/ 14038 h 1536006"/>
              <a:gd name="connsiteX10" fmla="*/ 7534893 w 7534893"/>
              <a:gd name="connsiteY10" fmla="*/ 1536006 h 1536006"/>
              <a:gd name="connsiteX11" fmla="*/ 7534893 w 7534893"/>
              <a:gd name="connsiteY11" fmla="*/ 1536006 h 1536006"/>
              <a:gd name="connsiteX0" fmla="*/ 0 w 7534893"/>
              <a:gd name="connsiteY0" fmla="*/ 881369 h 1534512"/>
              <a:gd name="connsiteX1" fmla="*/ 326571 w 7534893"/>
              <a:gd name="connsiteY1" fmla="*/ 14471 h 1534512"/>
              <a:gd name="connsiteX2" fmla="*/ 825335 w 7534893"/>
              <a:gd name="connsiteY2" fmla="*/ 614174 h 1534512"/>
              <a:gd name="connsiteX3" fmla="*/ 1609106 w 7534893"/>
              <a:gd name="connsiteY3" fmla="*/ 614174 h 1534512"/>
              <a:gd name="connsiteX4" fmla="*/ 2220685 w 7534893"/>
              <a:gd name="connsiteY4" fmla="*/ 1308881 h 1534512"/>
              <a:gd name="connsiteX5" fmla="*/ 2535381 w 7534893"/>
              <a:gd name="connsiteY5" fmla="*/ 916995 h 1534512"/>
              <a:gd name="connsiteX6" fmla="*/ 3069771 w 7534893"/>
              <a:gd name="connsiteY6" fmla="*/ 614174 h 1534512"/>
              <a:gd name="connsiteX7" fmla="*/ 4055423 w 7534893"/>
              <a:gd name="connsiteY7" fmla="*/ 620112 h 1534512"/>
              <a:gd name="connsiteX8" fmla="*/ 5015398 w 7534893"/>
              <a:gd name="connsiteY8" fmla="*/ 16398 h 1534512"/>
              <a:gd name="connsiteX9" fmla="*/ 5322229 w 7534893"/>
              <a:gd name="connsiteY9" fmla="*/ 12544 h 1534512"/>
              <a:gd name="connsiteX10" fmla="*/ 7534893 w 7534893"/>
              <a:gd name="connsiteY10" fmla="*/ 1534512 h 1534512"/>
              <a:gd name="connsiteX11" fmla="*/ 7534893 w 7534893"/>
              <a:gd name="connsiteY11" fmla="*/ 1534512 h 1534512"/>
              <a:gd name="connsiteX0" fmla="*/ 0 w 7534893"/>
              <a:gd name="connsiteY0" fmla="*/ 881369 h 1534512"/>
              <a:gd name="connsiteX1" fmla="*/ 326571 w 7534893"/>
              <a:gd name="connsiteY1" fmla="*/ 14471 h 1534512"/>
              <a:gd name="connsiteX2" fmla="*/ 825335 w 7534893"/>
              <a:gd name="connsiteY2" fmla="*/ 614174 h 1534512"/>
              <a:gd name="connsiteX3" fmla="*/ 1609106 w 7534893"/>
              <a:gd name="connsiteY3" fmla="*/ 614174 h 1534512"/>
              <a:gd name="connsiteX4" fmla="*/ 2220685 w 7534893"/>
              <a:gd name="connsiteY4" fmla="*/ 1308881 h 1534512"/>
              <a:gd name="connsiteX5" fmla="*/ 2535381 w 7534893"/>
              <a:gd name="connsiteY5" fmla="*/ 916995 h 1534512"/>
              <a:gd name="connsiteX6" fmla="*/ 3069771 w 7534893"/>
              <a:gd name="connsiteY6" fmla="*/ 614174 h 1534512"/>
              <a:gd name="connsiteX7" fmla="*/ 4055423 w 7534893"/>
              <a:gd name="connsiteY7" fmla="*/ 620112 h 1534512"/>
              <a:gd name="connsiteX8" fmla="*/ 5015398 w 7534893"/>
              <a:gd name="connsiteY8" fmla="*/ 16398 h 1534512"/>
              <a:gd name="connsiteX9" fmla="*/ 5322229 w 7534893"/>
              <a:gd name="connsiteY9" fmla="*/ 12544 h 1534512"/>
              <a:gd name="connsiteX10" fmla="*/ 7534893 w 7534893"/>
              <a:gd name="connsiteY10" fmla="*/ 1534512 h 1534512"/>
              <a:gd name="connsiteX11" fmla="*/ 7534893 w 7534893"/>
              <a:gd name="connsiteY11" fmla="*/ 1534512 h 1534512"/>
              <a:gd name="connsiteX0" fmla="*/ 0 w 7534893"/>
              <a:gd name="connsiteY0" fmla="*/ 881369 h 1534512"/>
              <a:gd name="connsiteX1" fmla="*/ 326571 w 7534893"/>
              <a:gd name="connsiteY1" fmla="*/ 14471 h 1534512"/>
              <a:gd name="connsiteX2" fmla="*/ 825335 w 7534893"/>
              <a:gd name="connsiteY2" fmla="*/ 614174 h 1534512"/>
              <a:gd name="connsiteX3" fmla="*/ 1609106 w 7534893"/>
              <a:gd name="connsiteY3" fmla="*/ 614174 h 1534512"/>
              <a:gd name="connsiteX4" fmla="*/ 2220685 w 7534893"/>
              <a:gd name="connsiteY4" fmla="*/ 1308881 h 1534512"/>
              <a:gd name="connsiteX5" fmla="*/ 2535381 w 7534893"/>
              <a:gd name="connsiteY5" fmla="*/ 916995 h 1534512"/>
              <a:gd name="connsiteX6" fmla="*/ 3069771 w 7534893"/>
              <a:gd name="connsiteY6" fmla="*/ 614174 h 1534512"/>
              <a:gd name="connsiteX7" fmla="*/ 4055423 w 7534893"/>
              <a:gd name="connsiteY7" fmla="*/ 620112 h 1534512"/>
              <a:gd name="connsiteX8" fmla="*/ 5015398 w 7534893"/>
              <a:gd name="connsiteY8" fmla="*/ 16398 h 1534512"/>
              <a:gd name="connsiteX9" fmla="*/ 5322229 w 7534893"/>
              <a:gd name="connsiteY9" fmla="*/ 12544 h 1534512"/>
              <a:gd name="connsiteX10" fmla="*/ 7534893 w 7534893"/>
              <a:gd name="connsiteY10" fmla="*/ 1534512 h 1534512"/>
              <a:gd name="connsiteX11" fmla="*/ 7534893 w 7534893"/>
              <a:gd name="connsiteY11" fmla="*/ 1534512 h 1534512"/>
              <a:gd name="connsiteX0" fmla="*/ 0 w 7534893"/>
              <a:gd name="connsiteY0" fmla="*/ 881369 h 1534512"/>
              <a:gd name="connsiteX1" fmla="*/ 326571 w 7534893"/>
              <a:gd name="connsiteY1" fmla="*/ 14471 h 1534512"/>
              <a:gd name="connsiteX2" fmla="*/ 825335 w 7534893"/>
              <a:gd name="connsiteY2" fmla="*/ 614174 h 1534512"/>
              <a:gd name="connsiteX3" fmla="*/ 1609106 w 7534893"/>
              <a:gd name="connsiteY3" fmla="*/ 614174 h 1534512"/>
              <a:gd name="connsiteX4" fmla="*/ 2220685 w 7534893"/>
              <a:gd name="connsiteY4" fmla="*/ 1308881 h 1534512"/>
              <a:gd name="connsiteX5" fmla="*/ 2535381 w 7534893"/>
              <a:gd name="connsiteY5" fmla="*/ 916995 h 1534512"/>
              <a:gd name="connsiteX6" fmla="*/ 3069771 w 7534893"/>
              <a:gd name="connsiteY6" fmla="*/ 614174 h 1534512"/>
              <a:gd name="connsiteX7" fmla="*/ 4055423 w 7534893"/>
              <a:gd name="connsiteY7" fmla="*/ 620112 h 1534512"/>
              <a:gd name="connsiteX8" fmla="*/ 5015398 w 7534893"/>
              <a:gd name="connsiteY8" fmla="*/ 16398 h 1534512"/>
              <a:gd name="connsiteX9" fmla="*/ 5322229 w 7534893"/>
              <a:gd name="connsiteY9" fmla="*/ 12544 h 1534512"/>
              <a:gd name="connsiteX10" fmla="*/ 7534893 w 7534893"/>
              <a:gd name="connsiteY10" fmla="*/ 1534512 h 1534512"/>
              <a:gd name="connsiteX11" fmla="*/ 7534893 w 7534893"/>
              <a:gd name="connsiteY11" fmla="*/ 1534512 h 1534512"/>
              <a:gd name="connsiteX0" fmla="*/ 0 w 7534893"/>
              <a:gd name="connsiteY0" fmla="*/ 870969 h 1524112"/>
              <a:gd name="connsiteX1" fmla="*/ 326571 w 7534893"/>
              <a:gd name="connsiteY1" fmla="*/ 4071 h 1524112"/>
              <a:gd name="connsiteX2" fmla="*/ 825335 w 7534893"/>
              <a:gd name="connsiteY2" fmla="*/ 603774 h 1524112"/>
              <a:gd name="connsiteX3" fmla="*/ 1609106 w 7534893"/>
              <a:gd name="connsiteY3" fmla="*/ 603774 h 1524112"/>
              <a:gd name="connsiteX4" fmla="*/ 2220685 w 7534893"/>
              <a:gd name="connsiteY4" fmla="*/ 1298481 h 1524112"/>
              <a:gd name="connsiteX5" fmla="*/ 2535381 w 7534893"/>
              <a:gd name="connsiteY5" fmla="*/ 906595 h 1524112"/>
              <a:gd name="connsiteX6" fmla="*/ 3069771 w 7534893"/>
              <a:gd name="connsiteY6" fmla="*/ 603774 h 1524112"/>
              <a:gd name="connsiteX7" fmla="*/ 4055423 w 7534893"/>
              <a:gd name="connsiteY7" fmla="*/ 609712 h 1524112"/>
              <a:gd name="connsiteX8" fmla="*/ 4977829 w 7534893"/>
              <a:gd name="connsiteY8" fmla="*/ 72048 h 1524112"/>
              <a:gd name="connsiteX9" fmla="*/ 5322229 w 7534893"/>
              <a:gd name="connsiteY9" fmla="*/ 2144 h 1524112"/>
              <a:gd name="connsiteX10" fmla="*/ 7534893 w 7534893"/>
              <a:gd name="connsiteY10" fmla="*/ 1524112 h 1524112"/>
              <a:gd name="connsiteX11" fmla="*/ 7534893 w 7534893"/>
              <a:gd name="connsiteY11" fmla="*/ 1524112 h 1524112"/>
              <a:gd name="connsiteX0" fmla="*/ 0 w 7534893"/>
              <a:gd name="connsiteY0" fmla="*/ 869677 h 1522820"/>
              <a:gd name="connsiteX1" fmla="*/ 326571 w 7534893"/>
              <a:gd name="connsiteY1" fmla="*/ 2779 h 1522820"/>
              <a:gd name="connsiteX2" fmla="*/ 825335 w 7534893"/>
              <a:gd name="connsiteY2" fmla="*/ 602482 h 1522820"/>
              <a:gd name="connsiteX3" fmla="*/ 1609106 w 7534893"/>
              <a:gd name="connsiteY3" fmla="*/ 602482 h 1522820"/>
              <a:gd name="connsiteX4" fmla="*/ 2220685 w 7534893"/>
              <a:gd name="connsiteY4" fmla="*/ 1297189 h 1522820"/>
              <a:gd name="connsiteX5" fmla="*/ 2535381 w 7534893"/>
              <a:gd name="connsiteY5" fmla="*/ 905303 h 1522820"/>
              <a:gd name="connsiteX6" fmla="*/ 3069771 w 7534893"/>
              <a:gd name="connsiteY6" fmla="*/ 602482 h 1522820"/>
              <a:gd name="connsiteX7" fmla="*/ 4055423 w 7534893"/>
              <a:gd name="connsiteY7" fmla="*/ 608420 h 1522820"/>
              <a:gd name="connsiteX8" fmla="*/ 4977829 w 7534893"/>
              <a:gd name="connsiteY8" fmla="*/ 70756 h 1522820"/>
              <a:gd name="connsiteX9" fmla="*/ 5284660 w 7534893"/>
              <a:gd name="connsiteY9" fmla="*/ 60896 h 1522820"/>
              <a:gd name="connsiteX10" fmla="*/ 7534893 w 7534893"/>
              <a:gd name="connsiteY10" fmla="*/ 1522820 h 1522820"/>
              <a:gd name="connsiteX11" fmla="*/ 7534893 w 7534893"/>
              <a:gd name="connsiteY11" fmla="*/ 1522820 h 1522820"/>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2535381 w 7534893"/>
              <a:gd name="connsiteY5" fmla="*/ 1150732 h 1768249"/>
              <a:gd name="connsiteX6" fmla="*/ 3069771 w 7534893"/>
              <a:gd name="connsiteY6" fmla="*/ 847911 h 1768249"/>
              <a:gd name="connsiteX7" fmla="*/ 4055423 w 7534893"/>
              <a:gd name="connsiteY7" fmla="*/ 853849 h 1768249"/>
              <a:gd name="connsiteX8" fmla="*/ 4977829 w 7534893"/>
              <a:gd name="connsiteY8" fmla="*/ 316185 h 1768249"/>
              <a:gd name="connsiteX9" fmla="*/ 5284660 w 7534893"/>
              <a:gd name="connsiteY9" fmla="*/ 306325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069771 w 7534893"/>
              <a:gd name="connsiteY6" fmla="*/ 847911 h 1768249"/>
              <a:gd name="connsiteX7" fmla="*/ 4055423 w 7534893"/>
              <a:gd name="connsiteY7" fmla="*/ 853849 h 1768249"/>
              <a:gd name="connsiteX8" fmla="*/ 4977829 w 7534893"/>
              <a:gd name="connsiteY8" fmla="*/ 316185 h 1768249"/>
              <a:gd name="connsiteX9" fmla="*/ 5284660 w 7534893"/>
              <a:gd name="connsiteY9" fmla="*/ 306325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4977829 w 7534893"/>
              <a:gd name="connsiteY8" fmla="*/ 316185 h 1768249"/>
              <a:gd name="connsiteX9" fmla="*/ 5284660 w 7534893"/>
              <a:gd name="connsiteY9" fmla="*/ 306325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4977829 w 7534893"/>
              <a:gd name="connsiteY8" fmla="*/ 316185 h 1768249"/>
              <a:gd name="connsiteX9" fmla="*/ 7000517 w 7534893"/>
              <a:gd name="connsiteY9" fmla="*/ 327153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5998656 w 7534893"/>
              <a:gd name="connsiteY8" fmla="*/ 330071 h 1768249"/>
              <a:gd name="connsiteX9" fmla="*/ 7000517 w 7534893"/>
              <a:gd name="connsiteY9" fmla="*/ 327153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5195027 w 7534893"/>
              <a:gd name="connsiteY8" fmla="*/ 788289 h 1768249"/>
              <a:gd name="connsiteX9" fmla="*/ 7000517 w 7534893"/>
              <a:gd name="connsiteY9" fmla="*/ 327153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5195027 w 7534893"/>
              <a:gd name="connsiteY8" fmla="*/ 788289 h 1768249"/>
              <a:gd name="connsiteX9" fmla="*/ 5871092 w 7534893"/>
              <a:gd name="connsiteY9" fmla="*/ 264669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5195027 w 7534893"/>
              <a:gd name="connsiteY8" fmla="*/ 788289 h 1768249"/>
              <a:gd name="connsiteX9" fmla="*/ 5871092 w 7534893"/>
              <a:gd name="connsiteY9" fmla="*/ 264669 h 1768249"/>
              <a:gd name="connsiteX10" fmla="*/ 7534893 w 7534893"/>
              <a:gd name="connsiteY10" fmla="*/ 1768249 h 1768249"/>
              <a:gd name="connsiteX11" fmla="*/ 7534893 w 7534893"/>
              <a:gd name="connsiteY11" fmla="*/ 1768249 h 1768249"/>
              <a:gd name="connsiteX0" fmla="*/ 0 w 7534893"/>
              <a:gd name="connsiteY0" fmla="*/ 1115106 h 1768249"/>
              <a:gd name="connsiteX1" fmla="*/ 351617 w 7534893"/>
              <a:gd name="connsiteY1" fmla="*/ 2024 h 1768249"/>
              <a:gd name="connsiteX2" fmla="*/ 825335 w 7534893"/>
              <a:gd name="connsiteY2" fmla="*/ 847911 h 1768249"/>
              <a:gd name="connsiteX3" fmla="*/ 1609106 w 7534893"/>
              <a:gd name="connsiteY3" fmla="*/ 847911 h 1768249"/>
              <a:gd name="connsiteX4" fmla="*/ 2220685 w 7534893"/>
              <a:gd name="connsiteY4" fmla="*/ 1542618 h 1768249"/>
              <a:gd name="connsiteX5" fmla="*/ 3737205 w 7534893"/>
              <a:gd name="connsiteY5" fmla="*/ 1275700 h 1768249"/>
              <a:gd name="connsiteX6" fmla="*/ 3873400 w 7534893"/>
              <a:gd name="connsiteY6" fmla="*/ 854854 h 1768249"/>
              <a:gd name="connsiteX7" fmla="*/ 4055423 w 7534893"/>
              <a:gd name="connsiteY7" fmla="*/ 853849 h 1768249"/>
              <a:gd name="connsiteX8" fmla="*/ 5195027 w 7534893"/>
              <a:gd name="connsiteY8" fmla="*/ 788289 h 1768249"/>
              <a:gd name="connsiteX9" fmla="*/ 5871092 w 7534893"/>
              <a:gd name="connsiteY9" fmla="*/ 264669 h 1768249"/>
              <a:gd name="connsiteX10" fmla="*/ 7534893 w 7534893"/>
              <a:gd name="connsiteY10" fmla="*/ 1768249 h 1768249"/>
              <a:gd name="connsiteX11" fmla="*/ 7534893 w 7534893"/>
              <a:gd name="connsiteY11" fmla="*/ 1768249 h 1768249"/>
              <a:gd name="connsiteX0" fmla="*/ 0 w 8823596"/>
              <a:gd name="connsiteY0" fmla="*/ 1115106 h 2025129"/>
              <a:gd name="connsiteX1" fmla="*/ 351617 w 8823596"/>
              <a:gd name="connsiteY1" fmla="*/ 2024 h 2025129"/>
              <a:gd name="connsiteX2" fmla="*/ 825335 w 8823596"/>
              <a:gd name="connsiteY2" fmla="*/ 847911 h 2025129"/>
              <a:gd name="connsiteX3" fmla="*/ 1609106 w 8823596"/>
              <a:gd name="connsiteY3" fmla="*/ 847911 h 2025129"/>
              <a:gd name="connsiteX4" fmla="*/ 2220685 w 8823596"/>
              <a:gd name="connsiteY4" fmla="*/ 1542618 h 2025129"/>
              <a:gd name="connsiteX5" fmla="*/ 3737205 w 8823596"/>
              <a:gd name="connsiteY5" fmla="*/ 1275700 h 2025129"/>
              <a:gd name="connsiteX6" fmla="*/ 3873400 w 8823596"/>
              <a:gd name="connsiteY6" fmla="*/ 854854 h 2025129"/>
              <a:gd name="connsiteX7" fmla="*/ 4055423 w 8823596"/>
              <a:gd name="connsiteY7" fmla="*/ 853849 h 2025129"/>
              <a:gd name="connsiteX8" fmla="*/ 5195027 w 8823596"/>
              <a:gd name="connsiteY8" fmla="*/ 788289 h 2025129"/>
              <a:gd name="connsiteX9" fmla="*/ 5871092 w 8823596"/>
              <a:gd name="connsiteY9" fmla="*/ 264669 h 2025129"/>
              <a:gd name="connsiteX10" fmla="*/ 7534893 w 8823596"/>
              <a:gd name="connsiteY10" fmla="*/ 1768249 h 2025129"/>
              <a:gd name="connsiteX11" fmla="*/ 8823596 w 8823596"/>
              <a:gd name="connsiteY11" fmla="*/ 2025129 h 2025129"/>
              <a:gd name="connsiteX0" fmla="*/ 0 w 8823596"/>
              <a:gd name="connsiteY0" fmla="*/ 1115106 h 2025129"/>
              <a:gd name="connsiteX1" fmla="*/ 351617 w 8823596"/>
              <a:gd name="connsiteY1" fmla="*/ 2024 h 2025129"/>
              <a:gd name="connsiteX2" fmla="*/ 825335 w 8823596"/>
              <a:gd name="connsiteY2" fmla="*/ 847911 h 2025129"/>
              <a:gd name="connsiteX3" fmla="*/ 1609106 w 8823596"/>
              <a:gd name="connsiteY3" fmla="*/ 847911 h 2025129"/>
              <a:gd name="connsiteX4" fmla="*/ 2220685 w 8823596"/>
              <a:gd name="connsiteY4" fmla="*/ 1542618 h 2025129"/>
              <a:gd name="connsiteX5" fmla="*/ 3737205 w 8823596"/>
              <a:gd name="connsiteY5" fmla="*/ 1275700 h 2025129"/>
              <a:gd name="connsiteX6" fmla="*/ 3873400 w 8823596"/>
              <a:gd name="connsiteY6" fmla="*/ 854854 h 2025129"/>
              <a:gd name="connsiteX7" fmla="*/ 4055423 w 8823596"/>
              <a:gd name="connsiteY7" fmla="*/ 853849 h 2025129"/>
              <a:gd name="connsiteX8" fmla="*/ 5195027 w 8823596"/>
              <a:gd name="connsiteY8" fmla="*/ 788289 h 2025129"/>
              <a:gd name="connsiteX9" fmla="*/ 5871092 w 8823596"/>
              <a:gd name="connsiteY9" fmla="*/ 264669 h 2025129"/>
              <a:gd name="connsiteX10" fmla="*/ 7550636 w 8823596"/>
              <a:gd name="connsiteY10" fmla="*/ 997006 h 2025129"/>
              <a:gd name="connsiteX11" fmla="*/ 7534893 w 8823596"/>
              <a:gd name="connsiteY11" fmla="*/ 1768249 h 2025129"/>
              <a:gd name="connsiteX12" fmla="*/ 8823596 w 8823596"/>
              <a:gd name="connsiteY12" fmla="*/ 2025129 h 2025129"/>
              <a:gd name="connsiteX0" fmla="*/ 0 w 8823596"/>
              <a:gd name="connsiteY0" fmla="*/ 1115106 h 2025129"/>
              <a:gd name="connsiteX1" fmla="*/ 351617 w 8823596"/>
              <a:gd name="connsiteY1" fmla="*/ 2024 h 2025129"/>
              <a:gd name="connsiteX2" fmla="*/ 825335 w 8823596"/>
              <a:gd name="connsiteY2" fmla="*/ 847911 h 2025129"/>
              <a:gd name="connsiteX3" fmla="*/ 1609106 w 8823596"/>
              <a:gd name="connsiteY3" fmla="*/ 847911 h 2025129"/>
              <a:gd name="connsiteX4" fmla="*/ 2220685 w 8823596"/>
              <a:gd name="connsiteY4" fmla="*/ 1542618 h 2025129"/>
              <a:gd name="connsiteX5" fmla="*/ 3737205 w 8823596"/>
              <a:gd name="connsiteY5" fmla="*/ 1275700 h 2025129"/>
              <a:gd name="connsiteX6" fmla="*/ 3873400 w 8823596"/>
              <a:gd name="connsiteY6" fmla="*/ 854854 h 2025129"/>
              <a:gd name="connsiteX7" fmla="*/ 4055423 w 8823596"/>
              <a:gd name="connsiteY7" fmla="*/ 853849 h 2025129"/>
              <a:gd name="connsiteX8" fmla="*/ 5195027 w 8823596"/>
              <a:gd name="connsiteY8" fmla="*/ 788289 h 2025129"/>
              <a:gd name="connsiteX9" fmla="*/ 5871092 w 8823596"/>
              <a:gd name="connsiteY9" fmla="*/ 264669 h 2025129"/>
              <a:gd name="connsiteX10" fmla="*/ 7275519 w 8823596"/>
              <a:gd name="connsiteY10" fmla="*/ 427705 h 2025129"/>
              <a:gd name="connsiteX11" fmla="*/ 7534893 w 8823596"/>
              <a:gd name="connsiteY11" fmla="*/ 1768249 h 2025129"/>
              <a:gd name="connsiteX12" fmla="*/ 8823596 w 8823596"/>
              <a:gd name="connsiteY12" fmla="*/ 2025129 h 2025129"/>
              <a:gd name="connsiteX0" fmla="*/ 0 w 8823596"/>
              <a:gd name="connsiteY0" fmla="*/ 1115106 h 2025129"/>
              <a:gd name="connsiteX1" fmla="*/ 351617 w 8823596"/>
              <a:gd name="connsiteY1" fmla="*/ 2024 h 2025129"/>
              <a:gd name="connsiteX2" fmla="*/ 825335 w 8823596"/>
              <a:gd name="connsiteY2" fmla="*/ 847911 h 2025129"/>
              <a:gd name="connsiteX3" fmla="*/ 1609106 w 8823596"/>
              <a:gd name="connsiteY3" fmla="*/ 847911 h 2025129"/>
              <a:gd name="connsiteX4" fmla="*/ 2220685 w 8823596"/>
              <a:gd name="connsiteY4" fmla="*/ 1542618 h 2025129"/>
              <a:gd name="connsiteX5" fmla="*/ 3737205 w 8823596"/>
              <a:gd name="connsiteY5" fmla="*/ 1275700 h 2025129"/>
              <a:gd name="connsiteX6" fmla="*/ 3873400 w 8823596"/>
              <a:gd name="connsiteY6" fmla="*/ 854854 h 2025129"/>
              <a:gd name="connsiteX7" fmla="*/ 4055423 w 8823596"/>
              <a:gd name="connsiteY7" fmla="*/ 853849 h 2025129"/>
              <a:gd name="connsiteX8" fmla="*/ 5195027 w 8823596"/>
              <a:gd name="connsiteY8" fmla="*/ 788289 h 2025129"/>
              <a:gd name="connsiteX9" fmla="*/ 5871092 w 8823596"/>
              <a:gd name="connsiteY9" fmla="*/ 264669 h 2025129"/>
              <a:gd name="connsiteX10" fmla="*/ 7275519 w 8823596"/>
              <a:gd name="connsiteY10" fmla="*/ 427705 h 2025129"/>
              <a:gd name="connsiteX11" fmla="*/ 7600052 w 8823596"/>
              <a:gd name="connsiteY11" fmla="*/ 1150349 h 2025129"/>
              <a:gd name="connsiteX12" fmla="*/ 8823596 w 8823596"/>
              <a:gd name="connsiteY12" fmla="*/ 2025129 h 2025129"/>
              <a:gd name="connsiteX0" fmla="*/ 0 w 7600052"/>
              <a:gd name="connsiteY0" fmla="*/ 1115106 h 1719650"/>
              <a:gd name="connsiteX1" fmla="*/ 351617 w 7600052"/>
              <a:gd name="connsiteY1" fmla="*/ 2024 h 1719650"/>
              <a:gd name="connsiteX2" fmla="*/ 825335 w 7600052"/>
              <a:gd name="connsiteY2" fmla="*/ 847911 h 1719650"/>
              <a:gd name="connsiteX3" fmla="*/ 1609106 w 7600052"/>
              <a:gd name="connsiteY3" fmla="*/ 847911 h 1719650"/>
              <a:gd name="connsiteX4" fmla="*/ 2220685 w 7600052"/>
              <a:gd name="connsiteY4" fmla="*/ 1542618 h 1719650"/>
              <a:gd name="connsiteX5" fmla="*/ 3737205 w 7600052"/>
              <a:gd name="connsiteY5" fmla="*/ 1275700 h 1719650"/>
              <a:gd name="connsiteX6" fmla="*/ 3873400 w 7600052"/>
              <a:gd name="connsiteY6" fmla="*/ 854854 h 1719650"/>
              <a:gd name="connsiteX7" fmla="*/ 4055423 w 7600052"/>
              <a:gd name="connsiteY7" fmla="*/ 853849 h 1719650"/>
              <a:gd name="connsiteX8" fmla="*/ 5195027 w 7600052"/>
              <a:gd name="connsiteY8" fmla="*/ 788289 h 1719650"/>
              <a:gd name="connsiteX9" fmla="*/ 5871092 w 7600052"/>
              <a:gd name="connsiteY9" fmla="*/ 264669 h 1719650"/>
              <a:gd name="connsiteX10" fmla="*/ 7275519 w 7600052"/>
              <a:gd name="connsiteY10" fmla="*/ 427705 h 1719650"/>
              <a:gd name="connsiteX11" fmla="*/ 7600052 w 7600052"/>
              <a:gd name="connsiteY11" fmla="*/ 1150349 h 1719650"/>
              <a:gd name="connsiteX12" fmla="*/ 7571093 w 7600052"/>
              <a:gd name="connsiteY12" fmla="*/ 1719650 h 1719650"/>
              <a:gd name="connsiteX0" fmla="*/ 0 w 7571093"/>
              <a:gd name="connsiteY0" fmla="*/ 1115106 h 1719650"/>
              <a:gd name="connsiteX1" fmla="*/ 351617 w 7571093"/>
              <a:gd name="connsiteY1" fmla="*/ 2024 h 1719650"/>
              <a:gd name="connsiteX2" fmla="*/ 825335 w 7571093"/>
              <a:gd name="connsiteY2" fmla="*/ 847911 h 1719650"/>
              <a:gd name="connsiteX3" fmla="*/ 1609106 w 7571093"/>
              <a:gd name="connsiteY3" fmla="*/ 847911 h 1719650"/>
              <a:gd name="connsiteX4" fmla="*/ 2220685 w 7571093"/>
              <a:gd name="connsiteY4" fmla="*/ 1542618 h 1719650"/>
              <a:gd name="connsiteX5" fmla="*/ 3737205 w 7571093"/>
              <a:gd name="connsiteY5" fmla="*/ 1275700 h 1719650"/>
              <a:gd name="connsiteX6" fmla="*/ 3873400 w 7571093"/>
              <a:gd name="connsiteY6" fmla="*/ 854854 h 1719650"/>
              <a:gd name="connsiteX7" fmla="*/ 4055423 w 7571093"/>
              <a:gd name="connsiteY7" fmla="*/ 853849 h 1719650"/>
              <a:gd name="connsiteX8" fmla="*/ 5195027 w 7571093"/>
              <a:gd name="connsiteY8" fmla="*/ 788289 h 1719650"/>
              <a:gd name="connsiteX9" fmla="*/ 5871092 w 7571093"/>
              <a:gd name="connsiteY9" fmla="*/ 264669 h 1719650"/>
              <a:gd name="connsiteX10" fmla="*/ 7275519 w 7571093"/>
              <a:gd name="connsiteY10" fmla="*/ 427705 h 1719650"/>
              <a:gd name="connsiteX11" fmla="*/ 7520413 w 7571093"/>
              <a:gd name="connsiteY11" fmla="*/ 1150349 h 1719650"/>
              <a:gd name="connsiteX12" fmla="*/ 7571093 w 7571093"/>
              <a:gd name="connsiteY12" fmla="*/ 1719650 h 1719650"/>
              <a:gd name="connsiteX0" fmla="*/ 0 w 7571093"/>
              <a:gd name="connsiteY0" fmla="*/ 1115106 h 1719650"/>
              <a:gd name="connsiteX1" fmla="*/ 226125 w 7571093"/>
              <a:gd name="connsiteY1" fmla="*/ 2024 h 1719650"/>
              <a:gd name="connsiteX2" fmla="*/ 825335 w 7571093"/>
              <a:gd name="connsiteY2" fmla="*/ 847911 h 1719650"/>
              <a:gd name="connsiteX3" fmla="*/ 1609106 w 7571093"/>
              <a:gd name="connsiteY3" fmla="*/ 847911 h 1719650"/>
              <a:gd name="connsiteX4" fmla="*/ 2220685 w 7571093"/>
              <a:gd name="connsiteY4" fmla="*/ 1542618 h 1719650"/>
              <a:gd name="connsiteX5" fmla="*/ 3737205 w 7571093"/>
              <a:gd name="connsiteY5" fmla="*/ 1275700 h 1719650"/>
              <a:gd name="connsiteX6" fmla="*/ 3873400 w 7571093"/>
              <a:gd name="connsiteY6" fmla="*/ 854854 h 1719650"/>
              <a:gd name="connsiteX7" fmla="*/ 4055423 w 7571093"/>
              <a:gd name="connsiteY7" fmla="*/ 853849 h 1719650"/>
              <a:gd name="connsiteX8" fmla="*/ 5195027 w 7571093"/>
              <a:gd name="connsiteY8" fmla="*/ 788289 h 1719650"/>
              <a:gd name="connsiteX9" fmla="*/ 5871092 w 7571093"/>
              <a:gd name="connsiteY9" fmla="*/ 264669 h 1719650"/>
              <a:gd name="connsiteX10" fmla="*/ 7275519 w 7571093"/>
              <a:gd name="connsiteY10" fmla="*/ 427705 h 1719650"/>
              <a:gd name="connsiteX11" fmla="*/ 7520413 w 7571093"/>
              <a:gd name="connsiteY11" fmla="*/ 1150349 h 1719650"/>
              <a:gd name="connsiteX12" fmla="*/ 7571093 w 7571093"/>
              <a:gd name="connsiteY12" fmla="*/ 1719650 h 1719650"/>
              <a:gd name="connsiteX0" fmla="*/ 0 w 7571093"/>
              <a:gd name="connsiteY0" fmla="*/ 1115106 h 1719650"/>
              <a:gd name="connsiteX1" fmla="*/ 284044 w 7571093"/>
              <a:gd name="connsiteY1" fmla="*/ 2024 h 1719650"/>
              <a:gd name="connsiteX2" fmla="*/ 825335 w 7571093"/>
              <a:gd name="connsiteY2" fmla="*/ 847911 h 1719650"/>
              <a:gd name="connsiteX3" fmla="*/ 1609106 w 7571093"/>
              <a:gd name="connsiteY3" fmla="*/ 847911 h 1719650"/>
              <a:gd name="connsiteX4" fmla="*/ 2220685 w 7571093"/>
              <a:gd name="connsiteY4" fmla="*/ 1542618 h 1719650"/>
              <a:gd name="connsiteX5" fmla="*/ 3737205 w 7571093"/>
              <a:gd name="connsiteY5" fmla="*/ 1275700 h 1719650"/>
              <a:gd name="connsiteX6" fmla="*/ 3873400 w 7571093"/>
              <a:gd name="connsiteY6" fmla="*/ 854854 h 1719650"/>
              <a:gd name="connsiteX7" fmla="*/ 4055423 w 7571093"/>
              <a:gd name="connsiteY7" fmla="*/ 853849 h 1719650"/>
              <a:gd name="connsiteX8" fmla="*/ 5195027 w 7571093"/>
              <a:gd name="connsiteY8" fmla="*/ 788289 h 1719650"/>
              <a:gd name="connsiteX9" fmla="*/ 5871092 w 7571093"/>
              <a:gd name="connsiteY9" fmla="*/ 264669 h 1719650"/>
              <a:gd name="connsiteX10" fmla="*/ 7275519 w 7571093"/>
              <a:gd name="connsiteY10" fmla="*/ 427705 h 1719650"/>
              <a:gd name="connsiteX11" fmla="*/ 7520413 w 7571093"/>
              <a:gd name="connsiteY11" fmla="*/ 1150349 h 1719650"/>
              <a:gd name="connsiteX12" fmla="*/ 7571093 w 7571093"/>
              <a:gd name="connsiteY12" fmla="*/ 1719650 h 1719650"/>
              <a:gd name="connsiteX0" fmla="*/ 0 w 7571093"/>
              <a:gd name="connsiteY0" fmla="*/ 1114541 h 1719085"/>
              <a:gd name="connsiteX1" fmla="*/ 284044 w 7571093"/>
              <a:gd name="connsiteY1" fmla="*/ 1459 h 1719085"/>
              <a:gd name="connsiteX2" fmla="*/ 786722 w 7571093"/>
              <a:gd name="connsiteY2" fmla="*/ 1199110 h 1719085"/>
              <a:gd name="connsiteX3" fmla="*/ 1609106 w 7571093"/>
              <a:gd name="connsiteY3" fmla="*/ 847346 h 1719085"/>
              <a:gd name="connsiteX4" fmla="*/ 2220685 w 7571093"/>
              <a:gd name="connsiteY4" fmla="*/ 1542053 h 1719085"/>
              <a:gd name="connsiteX5" fmla="*/ 3737205 w 7571093"/>
              <a:gd name="connsiteY5" fmla="*/ 1275135 h 1719085"/>
              <a:gd name="connsiteX6" fmla="*/ 3873400 w 7571093"/>
              <a:gd name="connsiteY6" fmla="*/ 854289 h 1719085"/>
              <a:gd name="connsiteX7" fmla="*/ 4055423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3873400 w 7571093"/>
              <a:gd name="connsiteY6" fmla="*/ 854289 h 1719085"/>
              <a:gd name="connsiteX7" fmla="*/ 4055423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3979586 w 7571093"/>
              <a:gd name="connsiteY6" fmla="*/ 900574 h 1719085"/>
              <a:gd name="connsiteX7" fmla="*/ 4055423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3979586 w 7571093"/>
              <a:gd name="connsiteY6" fmla="*/ 900574 h 1719085"/>
              <a:gd name="connsiteX7" fmla="*/ 4441552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4037506 w 7571093"/>
              <a:gd name="connsiteY6" fmla="*/ 900574 h 1719085"/>
              <a:gd name="connsiteX7" fmla="*/ 4441552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4162998 w 7571093"/>
              <a:gd name="connsiteY6" fmla="*/ 900574 h 1719085"/>
              <a:gd name="connsiteX7" fmla="*/ 4441552 w 7571093"/>
              <a:gd name="connsiteY7" fmla="*/ 853284 h 1719085"/>
              <a:gd name="connsiteX8" fmla="*/ 5195027 w 7571093"/>
              <a:gd name="connsiteY8" fmla="*/ 787724 h 1719085"/>
              <a:gd name="connsiteX9" fmla="*/ 5871092 w 7571093"/>
              <a:gd name="connsiteY9" fmla="*/ 264104 h 1719085"/>
              <a:gd name="connsiteX10" fmla="*/ 7275519 w 7571093"/>
              <a:gd name="connsiteY10" fmla="*/ 427140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4162998 w 7571093"/>
              <a:gd name="connsiteY6" fmla="*/ 900574 h 1719085"/>
              <a:gd name="connsiteX7" fmla="*/ 4441552 w 7571093"/>
              <a:gd name="connsiteY7" fmla="*/ 853284 h 1719085"/>
              <a:gd name="connsiteX8" fmla="*/ 5195027 w 7571093"/>
              <a:gd name="connsiteY8" fmla="*/ 787724 h 1719085"/>
              <a:gd name="connsiteX9" fmla="*/ 5871092 w 7571093"/>
              <a:gd name="connsiteY9" fmla="*/ 264104 h 1719085"/>
              <a:gd name="connsiteX10" fmla="*/ 7159680 w 7571093"/>
              <a:gd name="connsiteY10" fmla="*/ 417883 h 1719085"/>
              <a:gd name="connsiteX11" fmla="*/ 7520413 w 7571093"/>
              <a:gd name="connsiteY11" fmla="*/ 1149784 h 1719085"/>
              <a:gd name="connsiteX12" fmla="*/ 7571093 w 7571093"/>
              <a:gd name="connsiteY12" fmla="*/ 1719085 h 1719085"/>
              <a:gd name="connsiteX0" fmla="*/ 0 w 7571093"/>
              <a:gd name="connsiteY0" fmla="*/ 1114541 h 1719085"/>
              <a:gd name="connsiteX1" fmla="*/ 284044 w 7571093"/>
              <a:gd name="connsiteY1" fmla="*/ 1459 h 1719085"/>
              <a:gd name="connsiteX2" fmla="*/ 786722 w 7571093"/>
              <a:gd name="connsiteY2" fmla="*/ 1199110 h 1719085"/>
              <a:gd name="connsiteX3" fmla="*/ 1232631 w 7571093"/>
              <a:gd name="connsiteY3" fmla="*/ 1180596 h 1719085"/>
              <a:gd name="connsiteX4" fmla="*/ 2220685 w 7571093"/>
              <a:gd name="connsiteY4" fmla="*/ 1542053 h 1719085"/>
              <a:gd name="connsiteX5" fmla="*/ 3737205 w 7571093"/>
              <a:gd name="connsiteY5" fmla="*/ 1275135 h 1719085"/>
              <a:gd name="connsiteX6" fmla="*/ 4162998 w 7571093"/>
              <a:gd name="connsiteY6" fmla="*/ 900574 h 1719085"/>
              <a:gd name="connsiteX7" fmla="*/ 4441552 w 7571093"/>
              <a:gd name="connsiteY7" fmla="*/ 853284 h 1719085"/>
              <a:gd name="connsiteX8" fmla="*/ 5195027 w 7571093"/>
              <a:gd name="connsiteY8" fmla="*/ 787724 h 1719085"/>
              <a:gd name="connsiteX9" fmla="*/ 5871092 w 7571093"/>
              <a:gd name="connsiteY9" fmla="*/ 264104 h 1719085"/>
              <a:gd name="connsiteX10" fmla="*/ 7159680 w 7571093"/>
              <a:gd name="connsiteY10" fmla="*/ 417883 h 1719085"/>
              <a:gd name="connsiteX11" fmla="*/ 7250123 w 7571093"/>
              <a:gd name="connsiteY11" fmla="*/ 946132 h 1719085"/>
              <a:gd name="connsiteX12" fmla="*/ 7571093 w 7571093"/>
              <a:gd name="connsiteY12" fmla="*/ 1719085 h 1719085"/>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7159680 w 7542133"/>
              <a:gd name="connsiteY10" fmla="*/ 417883 h 1557298"/>
              <a:gd name="connsiteX11" fmla="*/ 7250123 w 7542133"/>
              <a:gd name="connsiteY11" fmla="*/ 946132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83205 w 7542133"/>
              <a:gd name="connsiteY10" fmla="*/ 288286 h 1557298"/>
              <a:gd name="connsiteX11" fmla="*/ 7250123 w 7542133"/>
              <a:gd name="connsiteY11" fmla="*/ 946132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83205 w 7542133"/>
              <a:gd name="connsiteY10" fmla="*/ 288286 h 1557298"/>
              <a:gd name="connsiteX11" fmla="*/ 7230816 w 7542133"/>
              <a:gd name="connsiteY11" fmla="*/ 751737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83205 w 7542133"/>
              <a:gd name="connsiteY10" fmla="*/ 288286 h 1557298"/>
              <a:gd name="connsiteX11" fmla="*/ 7279082 w 7542133"/>
              <a:gd name="connsiteY11" fmla="*/ 936875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83205 w 7542133"/>
              <a:gd name="connsiteY10" fmla="*/ 288286 h 1557298"/>
              <a:gd name="connsiteX11" fmla="*/ 7279082 w 7542133"/>
              <a:gd name="connsiteY11" fmla="*/ 936875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83205 w 7542133"/>
              <a:gd name="connsiteY10" fmla="*/ 288286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715632 w 7542133"/>
              <a:gd name="connsiteY10" fmla="*/ 325314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871092 w 7542133"/>
              <a:gd name="connsiteY9" fmla="*/ 264104 h 1557298"/>
              <a:gd name="connsiteX10" fmla="*/ 6628753 w 7542133"/>
              <a:gd name="connsiteY10" fmla="*/ 158689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628753 w 7542133"/>
              <a:gd name="connsiteY10" fmla="*/ 158689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628753 w 7542133"/>
              <a:gd name="connsiteY10" fmla="*/ 158689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628753 w 7542133"/>
              <a:gd name="connsiteY10" fmla="*/ 158689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677019 w 7542133"/>
              <a:gd name="connsiteY10" fmla="*/ 158689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879736 w 7542133"/>
              <a:gd name="connsiteY10" fmla="*/ 186460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879736 w 7542133"/>
              <a:gd name="connsiteY10" fmla="*/ 195717 h 1557298"/>
              <a:gd name="connsiteX11" fmla="*/ 7240469 w 7542133"/>
              <a:gd name="connsiteY11" fmla="*/ 835049 h 1557298"/>
              <a:gd name="connsiteX12" fmla="*/ 7542133 w 7542133"/>
              <a:gd name="connsiteY12"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879736 w 7542133"/>
              <a:gd name="connsiteY10" fmla="*/ 195717 h 1557298"/>
              <a:gd name="connsiteX11" fmla="*/ 7198295 w 7542133"/>
              <a:gd name="connsiteY11" fmla="*/ 552108 h 1557298"/>
              <a:gd name="connsiteX12" fmla="*/ 7240469 w 7542133"/>
              <a:gd name="connsiteY12" fmla="*/ 835049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05979 w 7542133"/>
              <a:gd name="connsiteY10" fmla="*/ 167946 h 1557298"/>
              <a:gd name="connsiteX11" fmla="*/ 7198295 w 7542133"/>
              <a:gd name="connsiteY11" fmla="*/ 552108 h 1557298"/>
              <a:gd name="connsiteX12" fmla="*/ 7240469 w 7542133"/>
              <a:gd name="connsiteY12" fmla="*/ 835049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05979 w 7542133"/>
              <a:gd name="connsiteY10" fmla="*/ 167946 h 1557298"/>
              <a:gd name="connsiteX11" fmla="*/ 7111416 w 7542133"/>
              <a:gd name="connsiteY11" fmla="*/ 505823 h 1557298"/>
              <a:gd name="connsiteX12" fmla="*/ 7240469 w 7542133"/>
              <a:gd name="connsiteY12" fmla="*/ 835049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54245 w 7542133"/>
              <a:gd name="connsiteY10" fmla="*/ 112405 h 1557298"/>
              <a:gd name="connsiteX11" fmla="*/ 7111416 w 7542133"/>
              <a:gd name="connsiteY11" fmla="*/ 505823 h 1557298"/>
              <a:gd name="connsiteX12" fmla="*/ 7240469 w 7542133"/>
              <a:gd name="connsiteY12" fmla="*/ 835049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15632 w 7542133"/>
              <a:gd name="connsiteY10" fmla="*/ 167947 h 1557298"/>
              <a:gd name="connsiteX11" fmla="*/ 7111416 w 7542133"/>
              <a:gd name="connsiteY11" fmla="*/ 505823 h 1557298"/>
              <a:gd name="connsiteX12" fmla="*/ 7240469 w 7542133"/>
              <a:gd name="connsiteY12" fmla="*/ 835049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15632 w 7542133"/>
              <a:gd name="connsiteY10" fmla="*/ 167947 h 1557298"/>
              <a:gd name="connsiteX11" fmla="*/ 7111416 w 7542133"/>
              <a:gd name="connsiteY11" fmla="*/ 505823 h 1557298"/>
              <a:gd name="connsiteX12" fmla="*/ 7279082 w 7542133"/>
              <a:gd name="connsiteY12" fmla="*/ 825792 h 1557298"/>
              <a:gd name="connsiteX13" fmla="*/ 7542133 w 7542133"/>
              <a:gd name="connsiteY13" fmla="*/ 1191440 h 1557298"/>
              <a:gd name="connsiteX0" fmla="*/ 0 w 7542133"/>
              <a:gd name="connsiteY0" fmla="*/ 1114541 h 1557298"/>
              <a:gd name="connsiteX1" fmla="*/ 284044 w 7542133"/>
              <a:gd name="connsiteY1" fmla="*/ 1459 h 1557298"/>
              <a:gd name="connsiteX2" fmla="*/ 786722 w 7542133"/>
              <a:gd name="connsiteY2" fmla="*/ 1199110 h 1557298"/>
              <a:gd name="connsiteX3" fmla="*/ 1232631 w 7542133"/>
              <a:gd name="connsiteY3" fmla="*/ 1180596 h 1557298"/>
              <a:gd name="connsiteX4" fmla="*/ 2220685 w 7542133"/>
              <a:gd name="connsiteY4" fmla="*/ 1542053 h 1557298"/>
              <a:gd name="connsiteX5" fmla="*/ 3737205 w 7542133"/>
              <a:gd name="connsiteY5" fmla="*/ 1275135 h 1557298"/>
              <a:gd name="connsiteX6" fmla="*/ 4162998 w 7542133"/>
              <a:gd name="connsiteY6" fmla="*/ 900574 h 1557298"/>
              <a:gd name="connsiteX7" fmla="*/ 4441552 w 7542133"/>
              <a:gd name="connsiteY7" fmla="*/ 853284 h 1557298"/>
              <a:gd name="connsiteX8" fmla="*/ 5195027 w 7542133"/>
              <a:gd name="connsiteY8" fmla="*/ 787724 h 1557298"/>
              <a:gd name="connsiteX9" fmla="*/ 5793866 w 7542133"/>
              <a:gd name="connsiteY9" fmla="*/ 245590 h 1557298"/>
              <a:gd name="connsiteX10" fmla="*/ 6715632 w 7542133"/>
              <a:gd name="connsiteY10" fmla="*/ 167947 h 1557298"/>
              <a:gd name="connsiteX11" fmla="*/ 7111416 w 7542133"/>
              <a:gd name="connsiteY11" fmla="*/ 505823 h 1557298"/>
              <a:gd name="connsiteX12" fmla="*/ 7317694 w 7542133"/>
              <a:gd name="connsiteY12" fmla="*/ 807278 h 1557298"/>
              <a:gd name="connsiteX13" fmla="*/ 7542133 w 7542133"/>
              <a:gd name="connsiteY13" fmla="*/ 1191440 h 155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42133" h="1557298">
                <a:moveTo>
                  <a:pt x="0" y="1114541"/>
                </a:moveTo>
                <a:cubicBezTo>
                  <a:pt x="108857" y="825575"/>
                  <a:pt x="121748" y="29168"/>
                  <a:pt x="284044" y="1459"/>
                </a:cubicBezTo>
                <a:cubicBezTo>
                  <a:pt x="479988" y="-48021"/>
                  <a:pt x="549215" y="1177338"/>
                  <a:pt x="786722" y="1199110"/>
                </a:cubicBezTo>
                <a:lnTo>
                  <a:pt x="1232631" y="1180596"/>
                </a:lnTo>
                <a:cubicBezTo>
                  <a:pt x="1561182" y="1204347"/>
                  <a:pt x="2016825" y="1547991"/>
                  <a:pt x="2220685" y="1542053"/>
                </a:cubicBezTo>
                <a:cubicBezTo>
                  <a:pt x="2361210" y="1553927"/>
                  <a:pt x="3638244" y="1631395"/>
                  <a:pt x="3737205" y="1275135"/>
                </a:cubicBezTo>
                <a:cubicBezTo>
                  <a:pt x="3838146" y="1097006"/>
                  <a:pt x="3967055" y="936199"/>
                  <a:pt x="4162998" y="900574"/>
                </a:cubicBezTo>
                <a:lnTo>
                  <a:pt x="4441552" y="853284"/>
                </a:lnTo>
                <a:cubicBezTo>
                  <a:pt x="4776822" y="859637"/>
                  <a:pt x="4943822" y="884237"/>
                  <a:pt x="5195027" y="787724"/>
                </a:cubicBezTo>
                <a:cubicBezTo>
                  <a:pt x="5256448" y="763333"/>
                  <a:pt x="5805393" y="268462"/>
                  <a:pt x="5793866" y="245590"/>
                </a:cubicBezTo>
                <a:cubicBezTo>
                  <a:pt x="5955997" y="171607"/>
                  <a:pt x="6438332" y="-82650"/>
                  <a:pt x="6715632" y="167947"/>
                </a:cubicBezTo>
                <a:cubicBezTo>
                  <a:pt x="6927179" y="228290"/>
                  <a:pt x="7051294" y="399268"/>
                  <a:pt x="7111416" y="505823"/>
                </a:cubicBezTo>
                <a:cubicBezTo>
                  <a:pt x="7171538" y="612378"/>
                  <a:pt x="7237864" y="709980"/>
                  <a:pt x="7317694" y="807278"/>
                </a:cubicBezTo>
                <a:cubicBezTo>
                  <a:pt x="7357112" y="929161"/>
                  <a:pt x="7454449" y="1106585"/>
                  <a:pt x="7542133" y="1191440"/>
                </a:cubicBezTo>
              </a:path>
            </a:pathLst>
          </a:custGeom>
          <a:noFill/>
          <a:ln w="19050">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7551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텍스트 개체 틀 1"/>
          <p:cNvSpPr>
            <a:spLocks noGrp="1"/>
          </p:cNvSpPr>
          <p:nvPr>
            <p:ph type="body" sz="quarter" idx="19"/>
          </p:nvPr>
        </p:nvSpPr>
        <p:spPr>
          <a:xfrm>
            <a:off x="276743" y="164293"/>
            <a:ext cx="7410990" cy="369332"/>
          </a:xfrm>
        </p:spPr>
        <p:txBody>
          <a:bodyPr/>
          <a:lstStyle/>
          <a:p>
            <a:r>
              <a:rPr lang="en-US" altLang="ko-KR" dirty="0"/>
              <a:t>Seasonal Auto Operation - </a:t>
            </a:r>
            <a:r>
              <a:rPr lang="en-US" altLang="ko-KR" sz="1600" dirty="0">
                <a:solidFill>
                  <a:prstClr val="black"/>
                </a:solidFill>
              </a:rPr>
              <a:t>Energy Saving Technology(4)</a:t>
            </a:r>
            <a:endParaRPr lang="en-US" altLang="ko-KR" dirty="0"/>
          </a:p>
        </p:txBody>
      </p:sp>
      <p:sp>
        <p:nvSpPr>
          <p:cNvPr id="123" name="텍스트 개체 틀 5"/>
          <p:cNvSpPr>
            <a:spLocks noGrp="1"/>
          </p:cNvSpPr>
          <p:nvPr>
            <p:ph type="body" sz="quarter" idx="20"/>
          </p:nvPr>
        </p:nvSpPr>
        <p:spPr>
          <a:xfrm>
            <a:off x="6330950" y="266849"/>
            <a:ext cx="3302000" cy="246221"/>
          </a:xfrm>
        </p:spPr>
        <p:txBody>
          <a:bodyPr/>
          <a:lstStyle/>
          <a:p>
            <a:r>
              <a:rPr lang="en-US" altLang="ko-KR" dirty="0"/>
              <a:t>Energy Saving</a:t>
            </a:r>
          </a:p>
        </p:txBody>
      </p:sp>
      <p:sp>
        <p:nvSpPr>
          <p:cNvPr id="124" name="텍스트 개체 틀 6"/>
          <p:cNvSpPr>
            <a:spLocks noGrp="1"/>
          </p:cNvSpPr>
          <p:nvPr>
            <p:ph type="body" sz="quarter" idx="21"/>
          </p:nvPr>
        </p:nvSpPr>
        <p:spPr>
          <a:xfrm>
            <a:off x="278422" y="748127"/>
            <a:ext cx="9342438" cy="246221"/>
          </a:xfrm>
        </p:spPr>
        <p:txBody>
          <a:bodyPr/>
          <a:lstStyle/>
          <a:p>
            <a:r>
              <a:rPr lang="en-US" altLang="ko-KR" dirty="0"/>
              <a:t>LG ERV senses outdoor temperature and operates automatically following weather condition.</a:t>
            </a:r>
          </a:p>
        </p:txBody>
      </p:sp>
      <p:sp>
        <p:nvSpPr>
          <p:cNvPr id="125" name="모서리가 둥근 직사각형 124"/>
          <p:cNvSpPr/>
          <p:nvPr/>
        </p:nvSpPr>
        <p:spPr>
          <a:xfrm>
            <a:off x="-1" y="2680140"/>
            <a:ext cx="1284835" cy="1572310"/>
          </a:xfrm>
          <a:prstGeom prst="roundRect">
            <a:avLst>
              <a:gd name="adj" fmla="val 0"/>
            </a:avLst>
          </a:prstGeom>
          <a:gradFill>
            <a:gsLst>
              <a:gs pos="0">
                <a:srgbClr val="FDDBE8"/>
              </a:gs>
              <a:gs pos="85000">
                <a:srgbClr val="C20C5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cs typeface="Arial" panose="020B0604020202020204" pitchFamily="34" charset="0"/>
            </a:endParaRPr>
          </a:p>
        </p:txBody>
      </p:sp>
      <p:sp>
        <p:nvSpPr>
          <p:cNvPr id="126" name="모서리가 둥근 직사각형 125"/>
          <p:cNvSpPr/>
          <p:nvPr/>
        </p:nvSpPr>
        <p:spPr>
          <a:xfrm rot="10800000">
            <a:off x="-1" y="1110201"/>
            <a:ext cx="1284835" cy="1573087"/>
          </a:xfrm>
          <a:prstGeom prst="roundRect">
            <a:avLst>
              <a:gd name="adj" fmla="val 0"/>
            </a:avLst>
          </a:prstGeom>
          <a:gradFill>
            <a:gsLst>
              <a:gs pos="0">
                <a:srgbClr val="BDE3FF"/>
              </a:gs>
              <a:gs pos="85000">
                <a:srgbClr val="096C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cs typeface="Arial" panose="020B0604020202020204" pitchFamily="34" charset="0"/>
            </a:endParaRPr>
          </a:p>
        </p:txBody>
      </p:sp>
      <p:sp>
        <p:nvSpPr>
          <p:cNvPr id="127" name="직사각형 126"/>
          <p:cNvSpPr/>
          <p:nvPr/>
        </p:nvSpPr>
        <p:spPr>
          <a:xfrm flipV="1">
            <a:off x="1278156" y="1110200"/>
            <a:ext cx="1434311" cy="3140489"/>
          </a:xfrm>
          <a:prstGeom prst="rect">
            <a:avLst/>
          </a:prstGeom>
          <a:gradFill flip="none" rotWithShape="1">
            <a:gsLst>
              <a:gs pos="0">
                <a:srgbClr val="0070C0">
                  <a:alpha val="0"/>
                </a:srgbClr>
              </a:gs>
              <a:gs pos="52000">
                <a:srgbClr val="0070C0">
                  <a:alpha val="4000"/>
                </a:srgbClr>
              </a:gs>
              <a:gs pos="100000">
                <a:srgbClr val="0070C0">
                  <a:alpha val="21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dirty="0">
              <a:solidFill>
                <a:prstClr val="white"/>
              </a:solidFill>
              <a:latin typeface="Arial" panose="020B0604020202020204" pitchFamily="34" charset="0"/>
              <a:cs typeface="Arial" panose="020B0604020202020204" pitchFamily="34" charset="0"/>
            </a:endParaRPr>
          </a:p>
        </p:txBody>
      </p:sp>
      <p:sp>
        <p:nvSpPr>
          <p:cNvPr id="128" name="직사각형 127"/>
          <p:cNvSpPr/>
          <p:nvPr/>
        </p:nvSpPr>
        <p:spPr>
          <a:xfrm flipV="1">
            <a:off x="2695287" y="1110198"/>
            <a:ext cx="2066696" cy="3140491"/>
          </a:xfrm>
          <a:prstGeom prst="rect">
            <a:avLst/>
          </a:prstGeom>
          <a:gradFill flip="none" rotWithShape="1">
            <a:gsLst>
              <a:gs pos="0">
                <a:srgbClr val="C60751">
                  <a:alpha val="0"/>
                </a:srgbClr>
              </a:gs>
              <a:gs pos="52000">
                <a:srgbClr val="C60751">
                  <a:alpha val="4000"/>
                </a:srgbClr>
              </a:gs>
              <a:gs pos="100000">
                <a:srgbClr val="C60751">
                  <a:alpha val="21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sp>
        <p:nvSpPr>
          <p:cNvPr id="129" name="직사각형 128"/>
          <p:cNvSpPr/>
          <p:nvPr/>
        </p:nvSpPr>
        <p:spPr>
          <a:xfrm flipV="1">
            <a:off x="7088166" y="1101886"/>
            <a:ext cx="2828157" cy="3140491"/>
          </a:xfrm>
          <a:prstGeom prst="rect">
            <a:avLst/>
          </a:prstGeom>
          <a:gradFill flip="none" rotWithShape="1">
            <a:gsLst>
              <a:gs pos="0">
                <a:srgbClr val="0070C0">
                  <a:alpha val="0"/>
                </a:srgbClr>
              </a:gs>
              <a:gs pos="52000">
                <a:srgbClr val="0070C0">
                  <a:alpha val="4000"/>
                </a:srgbClr>
              </a:gs>
              <a:gs pos="100000">
                <a:srgbClr val="0070C0">
                  <a:alpha val="21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dirty="0">
              <a:solidFill>
                <a:prstClr val="white"/>
              </a:solidFill>
              <a:latin typeface="Arial" panose="020B0604020202020204" pitchFamily="34" charset="0"/>
              <a:cs typeface="Arial" panose="020B0604020202020204" pitchFamily="34" charset="0"/>
            </a:endParaRPr>
          </a:p>
        </p:txBody>
      </p:sp>
      <p:sp>
        <p:nvSpPr>
          <p:cNvPr id="130" name="직사각형 129"/>
          <p:cNvSpPr/>
          <p:nvPr/>
        </p:nvSpPr>
        <p:spPr>
          <a:xfrm flipV="1">
            <a:off x="6933507" y="1101888"/>
            <a:ext cx="1155581" cy="3140490"/>
          </a:xfrm>
          <a:prstGeom prst="rect">
            <a:avLst/>
          </a:prstGeom>
          <a:gradFill flip="none" rotWithShape="1">
            <a:gsLst>
              <a:gs pos="0">
                <a:srgbClr val="C60751">
                  <a:alpha val="0"/>
                </a:srgbClr>
              </a:gs>
              <a:gs pos="52000">
                <a:srgbClr val="C60751">
                  <a:alpha val="4000"/>
                </a:srgbClr>
              </a:gs>
              <a:gs pos="100000">
                <a:srgbClr val="C60751">
                  <a:alpha val="21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sp>
        <p:nvSpPr>
          <p:cNvPr id="131" name="직사각형 130"/>
          <p:cNvSpPr/>
          <p:nvPr/>
        </p:nvSpPr>
        <p:spPr>
          <a:xfrm flipV="1">
            <a:off x="4761555" y="1104129"/>
            <a:ext cx="2172176" cy="3140490"/>
          </a:xfrm>
          <a:prstGeom prst="rect">
            <a:avLst/>
          </a:prstGeom>
          <a:gradFill flip="none" rotWithShape="1">
            <a:gsLst>
              <a:gs pos="0">
                <a:srgbClr val="C60751">
                  <a:alpha val="0"/>
                </a:srgbClr>
              </a:gs>
              <a:gs pos="0">
                <a:srgbClr val="C60751">
                  <a:alpha val="21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sp>
        <p:nvSpPr>
          <p:cNvPr id="132" name="직사각형 131"/>
          <p:cNvSpPr/>
          <p:nvPr/>
        </p:nvSpPr>
        <p:spPr>
          <a:xfrm>
            <a:off x="-1" y="4436075"/>
            <a:ext cx="1278158" cy="24219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34" name="그룹 133"/>
          <p:cNvGrpSpPr/>
          <p:nvPr/>
        </p:nvGrpSpPr>
        <p:grpSpPr>
          <a:xfrm>
            <a:off x="2497489" y="4549673"/>
            <a:ext cx="1879447" cy="276999"/>
            <a:chOff x="3194001" y="4880193"/>
            <a:chExt cx="1879447" cy="276999"/>
          </a:xfrm>
        </p:grpSpPr>
        <p:sp>
          <p:nvSpPr>
            <p:cNvPr id="135" name="제목 1"/>
            <p:cNvSpPr txBox="1">
              <a:spLocks/>
            </p:cNvSpPr>
            <p:nvPr/>
          </p:nvSpPr>
          <p:spPr bwMode="auto">
            <a:xfrm>
              <a:off x="3219762" y="4880193"/>
              <a:ext cx="1853686" cy="276999"/>
            </a:xfrm>
            <a:prstGeom prst="rect">
              <a:avLst/>
            </a:prstGeom>
          </p:spPr>
          <p:txBody>
            <a:bodyPr wrap="square">
              <a:spAutoFit/>
              <a:scene3d>
                <a:camera prst="orthographicFront"/>
                <a:lightRig rig="threePt" dir="t"/>
              </a:scene3d>
              <a:sp3d extrusionH="50800">
                <a:bevelT w="1270" h="1270"/>
              </a:sp3d>
            </a:bodyPr>
            <a:lstStyle>
              <a:defPPr>
                <a:defRPr lang="ko-KR"/>
              </a:defPPr>
              <a:lvl1pP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sz="1200" dirty="0">
                  <a:solidFill>
                    <a:srgbClr val="0070C0"/>
                  </a:solidFill>
                  <a:latin typeface="Arial" panose="020B0604020202020204" pitchFamily="34" charset="0"/>
                  <a:cs typeface="Arial" panose="020B0604020202020204" pitchFamily="34" charset="0"/>
                </a:rPr>
                <a:t>Bypass mode</a:t>
              </a:r>
            </a:p>
          </p:txBody>
        </p:sp>
        <p:pic>
          <p:nvPicPr>
            <p:cNvPr id="136" name="그림 6" descr="ma.jpg"/>
            <p:cNvPicPr>
              <a:picLocks noChangeAspect="1"/>
            </p:cNvPicPr>
            <p:nvPr/>
          </p:nvPicPr>
          <p:blipFill>
            <a:blip r:embed="rId20" cstate="email">
              <a:duotone>
                <a:schemeClr val="accent5">
                  <a:shade val="45000"/>
                  <a:satMod val="135000"/>
                </a:schemeClr>
                <a:prstClr val="white"/>
              </a:duotone>
              <a:extLst>
                <a:ext uri="{BEBA8EAE-BF5A-486C-A8C5-ECC9F3942E4B}">
                  <a14:imgProps xmlns:a14="http://schemas.microsoft.com/office/drawing/2010/main">
                    <a14:imgLayer r:embed="rId21">
                      <a14:imgEffect>
                        <a14:saturation sat="200000"/>
                      </a14:imgEffect>
                    </a14:imgLayer>
                  </a14:imgProps>
                </a:ext>
                <a:ext uri="{28A0092B-C50C-407E-A947-70E740481C1C}">
                  <a14:useLocalDpi xmlns:a14="http://schemas.microsoft.com/office/drawing/2010/main"/>
                </a:ext>
              </a:extLst>
            </a:blip>
            <a:srcRect r="-1956" b="-31"/>
            <a:stretch>
              <a:fillRect/>
            </a:stretch>
          </p:blipFill>
          <p:spPr bwMode="auto">
            <a:xfrm>
              <a:off x="3194001" y="4916433"/>
              <a:ext cx="45719" cy="204519"/>
            </a:xfrm>
            <a:prstGeom prst="rect">
              <a:avLst/>
            </a:prstGeom>
            <a:noFill/>
            <a:ln w="9525">
              <a:noFill/>
              <a:miter lim="800000"/>
              <a:headEnd/>
              <a:tailEnd/>
            </a:ln>
          </p:spPr>
        </p:pic>
      </p:grpSp>
      <p:grpSp>
        <p:nvGrpSpPr>
          <p:cNvPr id="137" name="그룹 136"/>
          <p:cNvGrpSpPr/>
          <p:nvPr/>
        </p:nvGrpSpPr>
        <p:grpSpPr>
          <a:xfrm>
            <a:off x="6609184" y="4549673"/>
            <a:ext cx="2274121" cy="276999"/>
            <a:chOff x="6630450" y="4889415"/>
            <a:chExt cx="2274121" cy="276999"/>
          </a:xfrm>
        </p:grpSpPr>
        <p:pic>
          <p:nvPicPr>
            <p:cNvPr id="138" name="그림 6" descr="ma.jpg"/>
            <p:cNvPicPr>
              <a:picLocks noChangeAspect="1"/>
            </p:cNvPicPr>
            <p:nvPr/>
          </p:nvPicPr>
          <p:blipFill>
            <a:blip r:embed="rId22" cstate="email">
              <a:extLst>
                <a:ext uri="{28A0092B-C50C-407E-A947-70E740481C1C}">
                  <a14:useLocalDpi xmlns:a14="http://schemas.microsoft.com/office/drawing/2010/main"/>
                </a:ext>
              </a:extLst>
            </a:blip>
            <a:srcRect r="-1956" b="-31"/>
            <a:stretch>
              <a:fillRect/>
            </a:stretch>
          </p:blipFill>
          <p:spPr bwMode="auto">
            <a:xfrm>
              <a:off x="6630450" y="4925655"/>
              <a:ext cx="51521" cy="204519"/>
            </a:xfrm>
            <a:prstGeom prst="rect">
              <a:avLst/>
            </a:prstGeom>
            <a:noFill/>
            <a:ln w="9525">
              <a:noFill/>
              <a:miter lim="800000"/>
              <a:headEnd/>
              <a:tailEnd/>
            </a:ln>
          </p:spPr>
        </p:pic>
        <p:sp>
          <p:nvSpPr>
            <p:cNvPr id="139" name="제목 1"/>
            <p:cNvSpPr txBox="1">
              <a:spLocks/>
            </p:cNvSpPr>
            <p:nvPr/>
          </p:nvSpPr>
          <p:spPr bwMode="auto">
            <a:xfrm>
              <a:off x="6670559" y="4889415"/>
              <a:ext cx="2234012" cy="276999"/>
            </a:xfrm>
            <a:prstGeom prst="rect">
              <a:avLst/>
            </a:prstGeom>
          </p:spPr>
          <p:txBody>
            <a:bodyPr wrap="square">
              <a:spAutoFit/>
              <a:scene3d>
                <a:camera prst="orthographicFront"/>
                <a:lightRig rig="threePt" dir="t"/>
              </a:scene3d>
              <a:sp3d extrusionH="50800">
                <a:bevelT w="1270" h="1270"/>
              </a:sp3d>
            </a:bodyPr>
            <a:lstStyle>
              <a:defPPr>
                <a:defRPr lang="ko-KR"/>
              </a:defPPr>
              <a:lvl1pP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sz="1200" dirty="0">
                  <a:solidFill>
                    <a:srgbClr val="C60751"/>
                  </a:solidFill>
                  <a:latin typeface="Arial" panose="020B0604020202020204" pitchFamily="34" charset="0"/>
                  <a:cs typeface="Arial" panose="020B0604020202020204" pitchFamily="34" charset="0"/>
                </a:rPr>
                <a:t>Heat recovery mode</a:t>
              </a:r>
            </a:p>
          </p:txBody>
        </p:sp>
      </p:grpSp>
      <p:sp>
        <p:nvSpPr>
          <p:cNvPr id="207" name="TextBox 206"/>
          <p:cNvSpPr txBox="1"/>
          <p:nvPr/>
        </p:nvSpPr>
        <p:spPr>
          <a:xfrm>
            <a:off x="224856" y="3071315"/>
            <a:ext cx="805676" cy="548868"/>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r>
              <a:rPr lang="en-US" altLang="ko-KR" sz="1400" dirty="0">
                <a:solidFill>
                  <a:prstClr val="white"/>
                </a:solidFill>
                <a:latin typeface="Arial" panose="020B0604020202020204" pitchFamily="34" charset="0"/>
                <a:cs typeface="Arial" panose="020B0604020202020204" pitchFamily="34" charset="0"/>
                <a:sym typeface="Wingdings" pitchFamily="2" charset="2"/>
              </a:rPr>
              <a:t>Heating</a:t>
            </a:r>
          </a:p>
          <a:p>
            <a:pPr algn="ctr"/>
            <a:r>
              <a:rPr lang="en-US" altLang="ko-KR" sz="1400" dirty="0">
                <a:solidFill>
                  <a:prstClr val="white"/>
                </a:solidFill>
                <a:latin typeface="Arial" panose="020B0604020202020204" pitchFamily="34" charset="0"/>
                <a:cs typeface="Arial" panose="020B0604020202020204" pitchFamily="34" charset="0"/>
                <a:sym typeface="Wingdings" pitchFamily="2" charset="2"/>
              </a:rPr>
              <a:t>Season</a:t>
            </a:r>
            <a:endParaRPr lang="ko-KR" altLang="en-US" sz="1400" dirty="0">
              <a:solidFill>
                <a:prstClr val="white"/>
              </a:solidFill>
              <a:latin typeface="Arial" panose="020B0604020202020204" pitchFamily="34" charset="0"/>
              <a:cs typeface="Arial" panose="020B0604020202020204" pitchFamily="34" charset="0"/>
              <a:sym typeface="Wingdings" pitchFamily="2" charset="2"/>
            </a:endParaRPr>
          </a:p>
        </p:txBody>
      </p:sp>
      <p:sp>
        <p:nvSpPr>
          <p:cNvPr id="208" name="TextBox 207"/>
          <p:cNvSpPr txBox="1"/>
          <p:nvPr/>
        </p:nvSpPr>
        <p:spPr>
          <a:xfrm>
            <a:off x="239578" y="1609453"/>
            <a:ext cx="805676" cy="548868"/>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r>
              <a:rPr lang="en-US" altLang="ko-KR" sz="1400" dirty="0">
                <a:solidFill>
                  <a:prstClr val="white"/>
                </a:solidFill>
                <a:latin typeface="Arial" panose="020B0604020202020204" pitchFamily="34" charset="0"/>
                <a:cs typeface="Arial" panose="020B0604020202020204" pitchFamily="34" charset="0"/>
                <a:sym typeface="Wingdings" pitchFamily="2" charset="2"/>
              </a:rPr>
              <a:t>Cooling</a:t>
            </a:r>
          </a:p>
          <a:p>
            <a:pPr algn="ctr"/>
            <a:r>
              <a:rPr lang="en-US" altLang="ko-KR" sz="1400" dirty="0">
                <a:solidFill>
                  <a:prstClr val="white"/>
                </a:solidFill>
                <a:latin typeface="Arial" panose="020B0604020202020204" pitchFamily="34" charset="0"/>
                <a:cs typeface="Arial" panose="020B0604020202020204" pitchFamily="34" charset="0"/>
                <a:sym typeface="Wingdings" pitchFamily="2" charset="2"/>
              </a:rPr>
              <a:t>Season</a:t>
            </a:r>
          </a:p>
        </p:txBody>
      </p:sp>
      <p:grpSp>
        <p:nvGrpSpPr>
          <p:cNvPr id="209" name="그룹 208"/>
          <p:cNvGrpSpPr/>
          <p:nvPr/>
        </p:nvGrpSpPr>
        <p:grpSpPr>
          <a:xfrm>
            <a:off x="1435267" y="1209969"/>
            <a:ext cx="2160740" cy="723860"/>
            <a:chOff x="1315812" y="1818592"/>
            <a:chExt cx="1751644" cy="785214"/>
          </a:xfrm>
        </p:grpSpPr>
        <p:sp>
          <p:nvSpPr>
            <p:cNvPr id="210" name="모서리가 둥근 직사각형 209"/>
            <p:cNvSpPr/>
            <p:nvPr/>
          </p:nvSpPr>
          <p:spPr>
            <a:xfrm>
              <a:off x="1315812" y="1818592"/>
              <a:ext cx="1634323" cy="785214"/>
            </a:xfrm>
            <a:prstGeom prst="roundRect">
              <a:avLst>
                <a:gd name="adj" fmla="val 5196"/>
              </a:avLst>
            </a:prstGeom>
            <a:solidFill>
              <a:schemeClr val="bg1">
                <a:alpha val="6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cxnSp>
          <p:nvCxnSpPr>
            <p:cNvPr id="211" name="직선 연결선 210"/>
            <p:cNvCxnSpPr/>
            <p:nvPr/>
          </p:nvCxnSpPr>
          <p:spPr>
            <a:xfrm>
              <a:off x="1414378" y="1976758"/>
              <a:ext cx="204029" cy="0"/>
            </a:xfrm>
            <a:prstGeom prst="line">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2" name="직선 연결선 211"/>
            <p:cNvCxnSpPr/>
            <p:nvPr/>
          </p:nvCxnSpPr>
          <p:spPr>
            <a:xfrm>
              <a:off x="1414378" y="2214976"/>
              <a:ext cx="204029" cy="0"/>
            </a:xfrm>
            <a:prstGeom prst="line">
              <a:avLst/>
            </a:prstGeom>
            <a:noFill/>
            <a:ln w="19050">
              <a:solidFill>
                <a:srgbClr val="C6075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직선 연결선 212"/>
            <p:cNvCxnSpPr/>
            <p:nvPr/>
          </p:nvCxnSpPr>
          <p:spPr>
            <a:xfrm>
              <a:off x="1414378" y="2453194"/>
              <a:ext cx="204029" cy="0"/>
            </a:xfrm>
            <a:prstGeom prst="line">
              <a:avLst/>
            </a:prstGeom>
            <a:noFill/>
            <a:ln w="1905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214" name="TextBox 213"/>
            <p:cNvSpPr txBox="1"/>
            <p:nvPr/>
          </p:nvSpPr>
          <p:spPr>
            <a:xfrm>
              <a:off x="1610052" y="1848931"/>
              <a:ext cx="974922" cy="26709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Natural ventilation</a:t>
              </a:r>
            </a:p>
          </p:txBody>
        </p:sp>
        <p:sp>
          <p:nvSpPr>
            <p:cNvPr id="215" name="TextBox 214"/>
            <p:cNvSpPr txBox="1"/>
            <p:nvPr/>
          </p:nvSpPr>
          <p:spPr>
            <a:xfrm>
              <a:off x="1610052" y="2093159"/>
              <a:ext cx="1457404" cy="26709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LG ERV heat recovery mode</a:t>
              </a:r>
            </a:p>
          </p:txBody>
        </p:sp>
        <p:sp>
          <p:nvSpPr>
            <p:cNvPr id="216" name="TextBox 215"/>
            <p:cNvSpPr txBox="1"/>
            <p:nvPr/>
          </p:nvSpPr>
          <p:spPr>
            <a:xfrm>
              <a:off x="1610052" y="2333459"/>
              <a:ext cx="1117382" cy="26709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LG ERV bypass mode</a:t>
              </a:r>
            </a:p>
          </p:txBody>
        </p:sp>
      </p:grpSp>
      <p:sp>
        <p:nvSpPr>
          <p:cNvPr id="217" name="직사각형 216"/>
          <p:cNvSpPr/>
          <p:nvPr/>
        </p:nvSpPr>
        <p:spPr>
          <a:xfrm>
            <a:off x="-1" y="4035627"/>
            <a:ext cx="4130471" cy="40044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18" name="직사각형 217"/>
          <p:cNvSpPr/>
          <p:nvPr/>
        </p:nvSpPr>
        <p:spPr>
          <a:xfrm>
            <a:off x="4129255" y="4035627"/>
            <a:ext cx="5787067" cy="40044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219" name="그룹 218"/>
          <p:cNvGrpSpPr/>
          <p:nvPr/>
        </p:nvGrpSpPr>
        <p:grpSpPr>
          <a:xfrm>
            <a:off x="4808984" y="5049109"/>
            <a:ext cx="1182598" cy="920606"/>
            <a:chOff x="3756698" y="5916723"/>
            <a:chExt cx="906690" cy="715135"/>
          </a:xfrm>
        </p:grpSpPr>
        <p:pic>
          <p:nvPicPr>
            <p:cNvPr id="220" name="그림 219"/>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756698" y="5916723"/>
              <a:ext cx="906690" cy="715135"/>
            </a:xfrm>
            <a:prstGeom prst="rect">
              <a:avLst/>
            </a:prstGeom>
          </p:spPr>
        </p:pic>
        <p:sp>
          <p:nvSpPr>
            <p:cNvPr id="221" name="TextBox 220"/>
            <p:cNvSpPr txBox="1"/>
            <p:nvPr/>
          </p:nvSpPr>
          <p:spPr>
            <a:xfrm>
              <a:off x="3896300" y="6098521"/>
              <a:ext cx="552644" cy="286900"/>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lnSpc>
                  <a:spcPct val="90000"/>
                </a:lnSpc>
                <a:spcBef>
                  <a:spcPct val="0"/>
                </a:spcBef>
                <a:spcAft>
                  <a:spcPts val="0"/>
                </a:spcAft>
                <a:buFont typeface="Arial" panose="020B0604020202020204" pitchFamily="34" charset="0"/>
                <a:buNone/>
                <a:defRPr kumimoji="1" sz="1000" b="1" spc="-80">
                  <a:solidFill>
                    <a:srgbClr val="C60751"/>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dirty="0">
                  <a:latin typeface="Arial" panose="020B0604020202020204" pitchFamily="34" charset="0"/>
                  <a:cs typeface="Arial" panose="020B0604020202020204" pitchFamily="34" charset="0"/>
                </a:rPr>
                <a:t>Automatic   </a:t>
              </a:r>
            </a:p>
            <a:p>
              <a:r>
                <a:rPr lang="en-US" altLang="ko-KR" dirty="0">
                  <a:latin typeface="Arial" panose="020B0604020202020204" pitchFamily="34" charset="0"/>
                  <a:cs typeface="Arial" panose="020B0604020202020204" pitchFamily="34" charset="0"/>
                </a:rPr>
                <a:t>  change</a:t>
              </a:r>
              <a:endParaRPr lang="ko-KR" altLang="en-US" dirty="0">
                <a:latin typeface="Arial" panose="020B0604020202020204" pitchFamily="34" charset="0"/>
                <a:cs typeface="Arial" panose="020B0604020202020204" pitchFamily="34" charset="0"/>
              </a:endParaRPr>
            </a:p>
          </p:txBody>
        </p:sp>
      </p:grpSp>
      <p:grpSp>
        <p:nvGrpSpPr>
          <p:cNvPr id="225" name="그룹 224"/>
          <p:cNvGrpSpPr/>
          <p:nvPr/>
        </p:nvGrpSpPr>
        <p:grpSpPr>
          <a:xfrm>
            <a:off x="1256180" y="2350596"/>
            <a:ext cx="1316735" cy="309386"/>
            <a:chOff x="5520019" y="2212241"/>
            <a:chExt cx="1316735" cy="309386"/>
          </a:xfrm>
        </p:grpSpPr>
        <p:sp>
          <p:nvSpPr>
            <p:cNvPr id="226" name="TextBox 225"/>
            <p:cNvSpPr txBox="1"/>
            <p:nvPr/>
          </p:nvSpPr>
          <p:spPr>
            <a:xfrm>
              <a:off x="5520019" y="2212241"/>
              <a:ext cx="1316735" cy="216982"/>
            </a:xfrm>
            <a:prstGeom prst="rect">
              <a:avLst/>
            </a:prstGeom>
            <a:noFill/>
          </p:spPr>
          <p:txBody>
            <a:bodyPr wrap="square" rtlCol="0" anchor="ctr">
              <a:spAutoFit/>
              <a:scene3d>
                <a:camera prst="orthographicFront"/>
                <a:lightRig rig="threePt" dir="t"/>
              </a:scene3d>
              <a:sp3d>
                <a:bevelT w="1270" h="1270"/>
              </a:sp3d>
            </a:bodyPr>
            <a:lstStyle>
              <a:defPPr>
                <a:defRPr lang="ko-KR"/>
              </a:defPPr>
              <a:lvl1pPr algn="ctr" fontAlgn="base">
                <a:lnSpc>
                  <a:spcPct val="110000"/>
                </a:lnSpc>
                <a:spcBef>
                  <a:spcPct val="0"/>
                </a:spcBef>
                <a:defRPr kumimoji="1" sz="900" b="1" spc="-80">
                  <a:solidFill>
                    <a:schemeClr val="tx1">
                      <a:lumMod val="65000"/>
                      <a:lumOff val="35000"/>
                    </a:schemeClr>
                  </a:solidFill>
                  <a:latin typeface="맑은 고딕" panose="020B0503020000020004" pitchFamily="50" charset="-127"/>
                </a:defRPr>
              </a:lvl1pPr>
            </a:lstStyle>
            <a:p>
              <a:pPr>
                <a:lnSpc>
                  <a:spcPct val="90000"/>
                </a:lnSpc>
              </a:pPr>
              <a:r>
                <a:rPr lang="en-US" altLang="ko-KR" dirty="0">
                  <a:solidFill>
                    <a:prstClr val="black">
                      <a:lumMod val="65000"/>
                      <a:lumOff val="35000"/>
                    </a:prstClr>
                  </a:solidFill>
                  <a:latin typeface="Arial" panose="020B0604020202020204" pitchFamily="34" charset="0"/>
                  <a:cs typeface="Arial" panose="020B0604020202020204" pitchFamily="34" charset="0"/>
                </a:rPr>
                <a:t>Proper temp.</a:t>
              </a:r>
            </a:p>
          </p:txBody>
        </p:sp>
        <p:sp>
          <p:nvSpPr>
            <p:cNvPr id="227" name="이등변 삼각형 226"/>
            <p:cNvSpPr/>
            <p:nvPr/>
          </p:nvSpPr>
          <p:spPr>
            <a:xfrm rot="10800000">
              <a:off x="6140755" y="2465674"/>
              <a:ext cx="79375" cy="55953"/>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229" name="그룹 228"/>
          <p:cNvGrpSpPr/>
          <p:nvPr/>
        </p:nvGrpSpPr>
        <p:grpSpPr>
          <a:xfrm>
            <a:off x="1476534" y="3104964"/>
            <a:ext cx="7965963" cy="944049"/>
            <a:chOff x="1476534" y="3400420"/>
            <a:chExt cx="7965963" cy="972629"/>
          </a:xfrm>
        </p:grpSpPr>
        <p:pic>
          <p:nvPicPr>
            <p:cNvPr id="230" name="그림 229"/>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1984265" y="3447280"/>
              <a:ext cx="7038595" cy="925769"/>
            </a:xfrm>
            <a:prstGeom prst="rect">
              <a:avLst/>
            </a:prstGeom>
          </p:spPr>
        </p:pic>
        <p:pic>
          <p:nvPicPr>
            <p:cNvPr id="231" name="그림 230"/>
            <p:cNvPicPr>
              <a:picLocks noChangeAspect="1"/>
            </p:cNvPicPr>
            <p:nvPr/>
          </p:nvPicPr>
          <p:blipFill rotWithShape="1">
            <a:blip r:embed="rId25" cstate="email">
              <a:extLst>
                <a:ext uri="{28A0092B-C50C-407E-A947-70E740481C1C}">
                  <a14:useLocalDpi xmlns:a14="http://schemas.microsoft.com/office/drawing/2010/main"/>
                </a:ext>
              </a:extLst>
            </a:blip>
            <a:srcRect r="-11020"/>
            <a:stretch/>
          </p:blipFill>
          <p:spPr>
            <a:xfrm>
              <a:off x="1476534" y="3400420"/>
              <a:ext cx="701176" cy="972629"/>
            </a:xfrm>
            <a:prstGeom prst="rect">
              <a:avLst/>
            </a:prstGeom>
          </p:spPr>
        </p:pic>
        <p:pic>
          <p:nvPicPr>
            <p:cNvPr id="232" name="그림 231"/>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8750006" y="3400420"/>
              <a:ext cx="692491" cy="972629"/>
            </a:xfrm>
            <a:prstGeom prst="rect">
              <a:avLst/>
            </a:prstGeom>
          </p:spPr>
        </p:pic>
      </p:grpSp>
      <p:sp>
        <p:nvSpPr>
          <p:cNvPr id="237" name="TextBox 236"/>
          <p:cNvSpPr txBox="1"/>
          <p:nvPr/>
        </p:nvSpPr>
        <p:spPr>
          <a:xfrm>
            <a:off x="3596007" y="4111530"/>
            <a:ext cx="393570"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Apr.</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38" name="TextBox 237"/>
          <p:cNvSpPr txBox="1"/>
          <p:nvPr/>
        </p:nvSpPr>
        <p:spPr>
          <a:xfrm>
            <a:off x="4232920" y="4111530"/>
            <a:ext cx="432047"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May.</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39" name="TextBox 238"/>
          <p:cNvSpPr txBox="1"/>
          <p:nvPr/>
        </p:nvSpPr>
        <p:spPr>
          <a:xfrm>
            <a:off x="4911627" y="4111530"/>
            <a:ext cx="393570"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Jun.</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0" name="TextBox 239"/>
          <p:cNvSpPr txBox="1"/>
          <p:nvPr/>
        </p:nvSpPr>
        <p:spPr>
          <a:xfrm>
            <a:off x="5569437" y="4111530"/>
            <a:ext cx="393570"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Jul.</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1" name="TextBox 240"/>
          <p:cNvSpPr txBox="1"/>
          <p:nvPr/>
        </p:nvSpPr>
        <p:spPr>
          <a:xfrm>
            <a:off x="6227246" y="4111530"/>
            <a:ext cx="525953"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Aug.</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2" name="TextBox 241"/>
          <p:cNvSpPr txBox="1"/>
          <p:nvPr/>
        </p:nvSpPr>
        <p:spPr>
          <a:xfrm>
            <a:off x="6885057" y="4110446"/>
            <a:ext cx="393570"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Sep.</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3" name="TextBox 242"/>
          <p:cNvSpPr txBox="1"/>
          <p:nvPr/>
        </p:nvSpPr>
        <p:spPr>
          <a:xfrm>
            <a:off x="7542867" y="4111530"/>
            <a:ext cx="457049"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Oct.</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4" name="TextBox 243"/>
          <p:cNvSpPr txBox="1"/>
          <p:nvPr/>
        </p:nvSpPr>
        <p:spPr>
          <a:xfrm>
            <a:off x="8264156" y="4111530"/>
            <a:ext cx="457049"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Nov.</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5" name="TextBox 244"/>
          <p:cNvSpPr txBox="1"/>
          <p:nvPr/>
        </p:nvSpPr>
        <p:spPr>
          <a:xfrm>
            <a:off x="8985448" y="4111530"/>
            <a:ext cx="457049"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Dec.</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6" name="TextBox 245"/>
          <p:cNvSpPr txBox="1"/>
          <p:nvPr/>
        </p:nvSpPr>
        <p:spPr>
          <a:xfrm>
            <a:off x="1638096" y="4111530"/>
            <a:ext cx="378052"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Jan.</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7" name="TextBox 246"/>
          <p:cNvSpPr txBox="1"/>
          <p:nvPr/>
        </p:nvSpPr>
        <p:spPr>
          <a:xfrm>
            <a:off x="2280388" y="4111530"/>
            <a:ext cx="393569"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Feb.</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8" name="TextBox 247"/>
          <p:cNvSpPr txBox="1"/>
          <p:nvPr/>
        </p:nvSpPr>
        <p:spPr>
          <a:xfrm>
            <a:off x="2938197" y="4111530"/>
            <a:ext cx="393570"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algn="ctr" fontAlgn="base">
              <a:spcBef>
                <a:spcPct val="0"/>
              </a:spcBef>
              <a:spcAft>
                <a:spcPts val="0"/>
              </a:spcAft>
              <a:buFont typeface="Arial" panose="020B0604020202020204" pitchFamily="34" charset="0"/>
              <a:buNone/>
              <a:defRPr kumimoji="1" sz="8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r>
              <a:rPr lang="en-US" altLang="ko-KR" sz="1000" dirty="0">
                <a:solidFill>
                  <a:prstClr val="white"/>
                </a:solidFill>
                <a:latin typeface="Arial" panose="020B0604020202020204" pitchFamily="34" charset="0"/>
                <a:cs typeface="Arial" panose="020B0604020202020204" pitchFamily="34" charset="0"/>
              </a:rPr>
              <a:t>Mar.</a:t>
            </a:r>
            <a:endParaRPr lang="ko-KR" altLang="en-US" sz="1000" dirty="0">
              <a:solidFill>
                <a:prstClr val="white"/>
              </a:solidFill>
              <a:latin typeface="Arial" panose="020B0604020202020204" pitchFamily="34" charset="0"/>
              <a:cs typeface="Arial" panose="020B0604020202020204" pitchFamily="34" charset="0"/>
            </a:endParaRPr>
          </a:p>
        </p:txBody>
      </p:sp>
      <p:sp>
        <p:nvSpPr>
          <p:cNvPr id="249" name="자유형 248"/>
          <p:cNvSpPr/>
          <p:nvPr>
            <p:custDataLst>
              <p:tags r:id="rId1"/>
            </p:custDataLst>
          </p:nvPr>
        </p:nvSpPr>
        <p:spPr>
          <a:xfrm>
            <a:off x="3011570" y="1868638"/>
            <a:ext cx="2110211" cy="815796"/>
          </a:xfrm>
          <a:custGeom>
            <a:avLst/>
            <a:gdLst>
              <a:gd name="connsiteX0" fmla="*/ 0 w 1744250"/>
              <a:gd name="connsiteY0" fmla="*/ 325676 h 366386"/>
              <a:gd name="connsiteX1" fmla="*/ 482252 w 1744250"/>
              <a:gd name="connsiteY1" fmla="*/ 37578 h 366386"/>
              <a:gd name="connsiteX2" fmla="*/ 1121080 w 1744250"/>
              <a:gd name="connsiteY2" fmla="*/ 0 h 366386"/>
              <a:gd name="connsiteX3" fmla="*/ 1252603 w 1744250"/>
              <a:gd name="connsiteY3" fmla="*/ 28183 h 366386"/>
              <a:gd name="connsiteX4" fmla="*/ 1744250 w 1744250"/>
              <a:gd name="connsiteY4" fmla="*/ 366386 h 366386"/>
              <a:gd name="connsiteX5" fmla="*/ 1149263 w 1744250"/>
              <a:gd name="connsiteY5" fmla="*/ 197285 h 366386"/>
              <a:gd name="connsiteX6" fmla="*/ 522962 w 1744250"/>
              <a:gd name="connsiteY6" fmla="*/ 228600 h 366386"/>
              <a:gd name="connsiteX7" fmla="*/ 0 w 1744250"/>
              <a:gd name="connsiteY7" fmla="*/ 32567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403270 h 426540"/>
              <a:gd name="connsiteX1" fmla="*/ 500559 w 1741758"/>
              <a:gd name="connsiteY1" fmla="*/ 9241 h 426540"/>
              <a:gd name="connsiteX2" fmla="*/ 1118588 w 1741758"/>
              <a:gd name="connsiteY2" fmla="*/ 60154 h 426540"/>
              <a:gd name="connsiteX3" fmla="*/ 1250111 w 1741758"/>
              <a:gd name="connsiteY3" fmla="*/ 88337 h 426540"/>
              <a:gd name="connsiteX4" fmla="*/ 1741758 w 1741758"/>
              <a:gd name="connsiteY4" fmla="*/ 426540 h 426540"/>
              <a:gd name="connsiteX5" fmla="*/ 1146771 w 1741758"/>
              <a:gd name="connsiteY5" fmla="*/ 257439 h 426540"/>
              <a:gd name="connsiteX6" fmla="*/ 520470 w 1741758"/>
              <a:gd name="connsiteY6" fmla="*/ 288754 h 426540"/>
              <a:gd name="connsiteX7" fmla="*/ 0 w 1741758"/>
              <a:gd name="connsiteY7" fmla="*/ 403270 h 426540"/>
              <a:gd name="connsiteX0" fmla="*/ 0 w 1741758"/>
              <a:gd name="connsiteY0" fmla="*/ 608587 h 631857"/>
              <a:gd name="connsiteX1" fmla="*/ 500559 w 1741758"/>
              <a:gd name="connsiteY1" fmla="*/ 214558 h 631857"/>
              <a:gd name="connsiteX2" fmla="*/ 882866 w 1741758"/>
              <a:gd name="connsiteY2" fmla="*/ 0 h 631857"/>
              <a:gd name="connsiteX3" fmla="*/ 1250111 w 1741758"/>
              <a:gd name="connsiteY3" fmla="*/ 293654 h 631857"/>
              <a:gd name="connsiteX4" fmla="*/ 1741758 w 1741758"/>
              <a:gd name="connsiteY4" fmla="*/ 631857 h 631857"/>
              <a:gd name="connsiteX5" fmla="*/ 1146771 w 1741758"/>
              <a:gd name="connsiteY5" fmla="*/ 462756 h 631857"/>
              <a:gd name="connsiteX6" fmla="*/ 520470 w 1741758"/>
              <a:gd name="connsiteY6" fmla="*/ 494071 h 631857"/>
              <a:gd name="connsiteX7" fmla="*/ 0 w 1741758"/>
              <a:gd name="connsiteY7" fmla="*/ 608587 h 631857"/>
              <a:gd name="connsiteX0" fmla="*/ 0 w 1741758"/>
              <a:gd name="connsiteY0" fmla="*/ 904868 h 928138"/>
              <a:gd name="connsiteX1" fmla="*/ 500559 w 1741758"/>
              <a:gd name="connsiteY1" fmla="*/ 510839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1049259 w 1741758"/>
              <a:gd name="connsiteY2" fmla="*/ 168462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818021"/>
              <a:gd name="connsiteY0" fmla="*/ 999285 h 999285"/>
              <a:gd name="connsiteX1" fmla="*/ 479760 w 1818021"/>
              <a:gd name="connsiteY1" fmla="*/ 634753 h 999285"/>
              <a:gd name="connsiteX2" fmla="*/ 1049259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575934 w 1818021"/>
              <a:gd name="connsiteY6" fmla="*/ 75694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610599 w 1818021"/>
              <a:gd name="connsiteY6" fmla="*/ 688123 h 999285"/>
              <a:gd name="connsiteX7" fmla="*/ 0 w 1818021"/>
              <a:gd name="connsiteY7" fmla="*/ 999285 h 999285"/>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499492 h 1028781"/>
              <a:gd name="connsiteX6" fmla="*/ 624465 w 1831887"/>
              <a:gd name="connsiteY6" fmla="*/ 688123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361840 h 1028781"/>
              <a:gd name="connsiteX6" fmla="*/ 624465 w 1831887"/>
              <a:gd name="connsiteY6" fmla="*/ 688123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361840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514425 w 1831887"/>
              <a:gd name="connsiteY1" fmla="*/ 654418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44585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178632 w 1842948"/>
              <a:gd name="connsiteY6" fmla="*/ 283182 h 1033390"/>
              <a:gd name="connsiteX7" fmla="*/ 690990 w 1842948"/>
              <a:gd name="connsiteY7" fmla="*/ 599632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178632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82627 w 1842948"/>
              <a:gd name="connsiteY6" fmla="*/ 273350 h 1033390"/>
              <a:gd name="connsiteX7" fmla="*/ 524597 w 1842948"/>
              <a:gd name="connsiteY7" fmla="*/ 727451 h 1033390"/>
              <a:gd name="connsiteX8" fmla="*/ 11061 w 1842948"/>
              <a:gd name="connsiteY8" fmla="*/ 1028781 h 1033390"/>
              <a:gd name="connsiteX0" fmla="*/ 10964 w 1842851"/>
              <a:gd name="connsiteY0" fmla="*/ 1028781 h 1033669"/>
              <a:gd name="connsiteX1" fmla="*/ 244399 w 1842851"/>
              <a:gd name="connsiteY1" fmla="*/ 869308 h 1033669"/>
              <a:gd name="connsiteX2" fmla="*/ 489889 w 1842851"/>
              <a:gd name="connsiteY2" fmla="*/ 590533 h 1033669"/>
              <a:gd name="connsiteX3" fmla="*/ 928496 w 1842851"/>
              <a:gd name="connsiteY3" fmla="*/ 341537 h 1033669"/>
              <a:gd name="connsiteX4" fmla="*/ 1372003 w 1842851"/>
              <a:gd name="connsiteY4" fmla="*/ 94417 h 1033669"/>
              <a:gd name="connsiteX5" fmla="*/ 1842851 w 1842851"/>
              <a:gd name="connsiteY5" fmla="*/ 0 h 1033669"/>
              <a:gd name="connsiteX6" fmla="*/ 1282530 w 1842851"/>
              <a:gd name="connsiteY6" fmla="*/ 273350 h 1033669"/>
              <a:gd name="connsiteX7" fmla="*/ 524500 w 1842851"/>
              <a:gd name="connsiteY7" fmla="*/ 727451 h 1033669"/>
              <a:gd name="connsiteX8" fmla="*/ 10964 w 1842851"/>
              <a:gd name="connsiteY8" fmla="*/ 1028781 h 1033669"/>
              <a:gd name="connsiteX0" fmla="*/ 10964 w 1842851"/>
              <a:gd name="connsiteY0" fmla="*/ 1028781 h 1033670"/>
              <a:gd name="connsiteX1" fmla="*/ 244399 w 1842851"/>
              <a:gd name="connsiteY1" fmla="*/ 869308 h 1033670"/>
              <a:gd name="connsiteX2" fmla="*/ 489889 w 1842851"/>
              <a:gd name="connsiteY2" fmla="*/ 590533 h 1033670"/>
              <a:gd name="connsiteX3" fmla="*/ 928496 w 1842851"/>
              <a:gd name="connsiteY3" fmla="*/ 341537 h 1033670"/>
              <a:gd name="connsiteX4" fmla="*/ 1372003 w 1842851"/>
              <a:gd name="connsiteY4" fmla="*/ 94417 h 1033670"/>
              <a:gd name="connsiteX5" fmla="*/ 1842851 w 1842851"/>
              <a:gd name="connsiteY5" fmla="*/ 0 h 1033670"/>
              <a:gd name="connsiteX6" fmla="*/ 1282530 w 1842851"/>
              <a:gd name="connsiteY6" fmla="*/ 273350 h 1033670"/>
              <a:gd name="connsiteX7" fmla="*/ 524500 w 1842851"/>
              <a:gd name="connsiteY7" fmla="*/ 727451 h 1033670"/>
              <a:gd name="connsiteX8" fmla="*/ 10964 w 1842851"/>
              <a:gd name="connsiteY8" fmla="*/ 1028781 h 1033670"/>
              <a:gd name="connsiteX0" fmla="*/ 10763 w 1842650"/>
              <a:gd name="connsiteY0" fmla="*/ 1028781 h 1032523"/>
              <a:gd name="connsiteX1" fmla="*/ 249147 w 1842650"/>
              <a:gd name="connsiteY1" fmla="*/ 825635 h 1032523"/>
              <a:gd name="connsiteX2" fmla="*/ 489688 w 1842650"/>
              <a:gd name="connsiteY2" fmla="*/ 590533 h 1032523"/>
              <a:gd name="connsiteX3" fmla="*/ 928295 w 1842650"/>
              <a:gd name="connsiteY3" fmla="*/ 341537 h 1032523"/>
              <a:gd name="connsiteX4" fmla="*/ 1371802 w 1842650"/>
              <a:gd name="connsiteY4" fmla="*/ 94417 h 1032523"/>
              <a:gd name="connsiteX5" fmla="*/ 1842650 w 1842650"/>
              <a:gd name="connsiteY5" fmla="*/ 0 h 1032523"/>
              <a:gd name="connsiteX6" fmla="*/ 1282329 w 1842650"/>
              <a:gd name="connsiteY6" fmla="*/ 273350 h 1032523"/>
              <a:gd name="connsiteX7" fmla="*/ 524299 w 1842650"/>
              <a:gd name="connsiteY7" fmla="*/ 727451 h 1032523"/>
              <a:gd name="connsiteX8" fmla="*/ 10763 w 1842650"/>
              <a:gd name="connsiteY8" fmla="*/ 1028781 h 1032523"/>
              <a:gd name="connsiteX0" fmla="*/ 10763 w 1842650"/>
              <a:gd name="connsiteY0" fmla="*/ 1028781 h 1032876"/>
              <a:gd name="connsiteX1" fmla="*/ 249147 w 1842650"/>
              <a:gd name="connsiteY1" fmla="*/ 825635 h 1032876"/>
              <a:gd name="connsiteX2" fmla="*/ 489688 w 1842650"/>
              <a:gd name="connsiteY2" fmla="*/ 590533 h 1032876"/>
              <a:gd name="connsiteX3" fmla="*/ 928295 w 1842650"/>
              <a:gd name="connsiteY3" fmla="*/ 341537 h 1032876"/>
              <a:gd name="connsiteX4" fmla="*/ 1371802 w 1842650"/>
              <a:gd name="connsiteY4" fmla="*/ 94417 h 1032876"/>
              <a:gd name="connsiteX5" fmla="*/ 1842650 w 1842650"/>
              <a:gd name="connsiteY5" fmla="*/ 0 h 1032876"/>
              <a:gd name="connsiteX6" fmla="*/ 1282329 w 1842650"/>
              <a:gd name="connsiteY6" fmla="*/ 273350 h 1032876"/>
              <a:gd name="connsiteX7" fmla="*/ 524299 w 1842650"/>
              <a:gd name="connsiteY7" fmla="*/ 727451 h 1032876"/>
              <a:gd name="connsiteX8" fmla="*/ 258277 w 1842650"/>
              <a:gd name="connsiteY8" fmla="*/ 979696 h 1032876"/>
              <a:gd name="connsiteX9" fmla="*/ 10763 w 1842650"/>
              <a:gd name="connsiteY9" fmla="*/ 1028781 h 1032876"/>
              <a:gd name="connsiteX0" fmla="*/ 10763 w 1842650"/>
              <a:gd name="connsiteY0" fmla="*/ 1028781 h 1032876"/>
              <a:gd name="connsiteX1" fmla="*/ 249147 w 1842650"/>
              <a:gd name="connsiteY1" fmla="*/ 825635 h 1032876"/>
              <a:gd name="connsiteX2" fmla="*/ 489688 w 1842650"/>
              <a:gd name="connsiteY2" fmla="*/ 590533 h 1032876"/>
              <a:gd name="connsiteX3" fmla="*/ 928295 w 1842650"/>
              <a:gd name="connsiteY3" fmla="*/ 341537 h 1032876"/>
              <a:gd name="connsiteX4" fmla="*/ 1371802 w 1842650"/>
              <a:gd name="connsiteY4" fmla="*/ 94417 h 1032876"/>
              <a:gd name="connsiteX5" fmla="*/ 1842650 w 1842650"/>
              <a:gd name="connsiteY5" fmla="*/ 0 h 1032876"/>
              <a:gd name="connsiteX6" fmla="*/ 1282329 w 1842650"/>
              <a:gd name="connsiteY6" fmla="*/ 273350 h 1032876"/>
              <a:gd name="connsiteX7" fmla="*/ 524299 w 1842650"/>
              <a:gd name="connsiteY7" fmla="*/ 763846 h 1032876"/>
              <a:gd name="connsiteX8" fmla="*/ 258277 w 1842650"/>
              <a:gd name="connsiteY8" fmla="*/ 979696 h 1032876"/>
              <a:gd name="connsiteX9" fmla="*/ 10763 w 1842650"/>
              <a:gd name="connsiteY9" fmla="*/ 1028781 h 1032876"/>
              <a:gd name="connsiteX0" fmla="*/ 10763 w 1842650"/>
              <a:gd name="connsiteY0" fmla="*/ 1028781 h 1032523"/>
              <a:gd name="connsiteX1" fmla="*/ 249147 w 1842650"/>
              <a:gd name="connsiteY1" fmla="*/ 825635 h 1032523"/>
              <a:gd name="connsiteX2" fmla="*/ 489688 w 1842650"/>
              <a:gd name="connsiteY2" fmla="*/ 590533 h 1032523"/>
              <a:gd name="connsiteX3" fmla="*/ 928295 w 1842650"/>
              <a:gd name="connsiteY3" fmla="*/ 341537 h 1032523"/>
              <a:gd name="connsiteX4" fmla="*/ 1371802 w 1842650"/>
              <a:gd name="connsiteY4" fmla="*/ 94417 h 1032523"/>
              <a:gd name="connsiteX5" fmla="*/ 1842650 w 1842650"/>
              <a:gd name="connsiteY5" fmla="*/ 0 h 1032523"/>
              <a:gd name="connsiteX6" fmla="*/ 1282329 w 1842650"/>
              <a:gd name="connsiteY6" fmla="*/ 273350 h 1032523"/>
              <a:gd name="connsiteX7" fmla="*/ 524299 w 1842650"/>
              <a:gd name="connsiteY7" fmla="*/ 763846 h 1032523"/>
              <a:gd name="connsiteX8" fmla="*/ 233531 w 1842650"/>
              <a:gd name="connsiteY8" fmla="*/ 943302 h 1032523"/>
              <a:gd name="connsiteX9" fmla="*/ 10763 w 1842650"/>
              <a:gd name="connsiteY9" fmla="*/ 1028781 h 1032523"/>
              <a:gd name="connsiteX0" fmla="*/ 10763 w 1842650"/>
              <a:gd name="connsiteY0" fmla="*/ 1028781 h 1032523"/>
              <a:gd name="connsiteX1" fmla="*/ 249147 w 1842650"/>
              <a:gd name="connsiteY1" fmla="*/ 825635 h 1032523"/>
              <a:gd name="connsiteX2" fmla="*/ 489688 w 1842650"/>
              <a:gd name="connsiteY2" fmla="*/ 590533 h 1032523"/>
              <a:gd name="connsiteX3" fmla="*/ 928295 w 1842650"/>
              <a:gd name="connsiteY3" fmla="*/ 341537 h 1032523"/>
              <a:gd name="connsiteX4" fmla="*/ 1371802 w 1842650"/>
              <a:gd name="connsiteY4" fmla="*/ 94417 h 1032523"/>
              <a:gd name="connsiteX5" fmla="*/ 1842650 w 1842650"/>
              <a:gd name="connsiteY5" fmla="*/ 0 h 1032523"/>
              <a:gd name="connsiteX6" fmla="*/ 1282329 w 1842650"/>
              <a:gd name="connsiteY6" fmla="*/ 273350 h 1032523"/>
              <a:gd name="connsiteX7" fmla="*/ 553994 w 1842650"/>
              <a:gd name="connsiteY7" fmla="*/ 734730 h 1032523"/>
              <a:gd name="connsiteX8" fmla="*/ 233531 w 1842650"/>
              <a:gd name="connsiteY8" fmla="*/ 943302 h 1032523"/>
              <a:gd name="connsiteX9" fmla="*/ 10763 w 1842650"/>
              <a:gd name="connsiteY9" fmla="*/ 1028781 h 1032523"/>
              <a:gd name="connsiteX0" fmla="*/ 11886 w 1843773"/>
              <a:gd name="connsiteY0" fmla="*/ 1028781 h 1032128"/>
              <a:gd name="connsiteX1" fmla="*/ 224717 w 1843773"/>
              <a:gd name="connsiteY1" fmla="*/ 803816 h 1032128"/>
              <a:gd name="connsiteX2" fmla="*/ 490811 w 1843773"/>
              <a:gd name="connsiteY2" fmla="*/ 590533 h 1032128"/>
              <a:gd name="connsiteX3" fmla="*/ 929418 w 1843773"/>
              <a:gd name="connsiteY3" fmla="*/ 341537 h 1032128"/>
              <a:gd name="connsiteX4" fmla="*/ 1372925 w 1843773"/>
              <a:gd name="connsiteY4" fmla="*/ 94417 h 1032128"/>
              <a:gd name="connsiteX5" fmla="*/ 1843773 w 1843773"/>
              <a:gd name="connsiteY5" fmla="*/ 0 h 1032128"/>
              <a:gd name="connsiteX6" fmla="*/ 1283452 w 1843773"/>
              <a:gd name="connsiteY6" fmla="*/ 273350 h 1032128"/>
              <a:gd name="connsiteX7" fmla="*/ 555117 w 1843773"/>
              <a:gd name="connsiteY7" fmla="*/ 734730 h 1032128"/>
              <a:gd name="connsiteX8" fmla="*/ 234654 w 1843773"/>
              <a:gd name="connsiteY8" fmla="*/ 943302 h 1032128"/>
              <a:gd name="connsiteX9" fmla="*/ 11886 w 1843773"/>
              <a:gd name="connsiteY9" fmla="*/ 1028781 h 1032128"/>
              <a:gd name="connsiteX0" fmla="*/ 11886 w 1843773"/>
              <a:gd name="connsiteY0" fmla="*/ 1028781 h 1032128"/>
              <a:gd name="connsiteX1" fmla="*/ 224717 w 1843773"/>
              <a:gd name="connsiteY1" fmla="*/ 803816 h 1032128"/>
              <a:gd name="connsiteX2" fmla="*/ 490811 w 1843773"/>
              <a:gd name="connsiteY2" fmla="*/ 590533 h 1032128"/>
              <a:gd name="connsiteX3" fmla="*/ 929418 w 1843773"/>
              <a:gd name="connsiteY3" fmla="*/ 305173 h 1032128"/>
              <a:gd name="connsiteX4" fmla="*/ 1372925 w 1843773"/>
              <a:gd name="connsiteY4" fmla="*/ 94417 h 1032128"/>
              <a:gd name="connsiteX5" fmla="*/ 1843773 w 1843773"/>
              <a:gd name="connsiteY5" fmla="*/ 0 h 1032128"/>
              <a:gd name="connsiteX6" fmla="*/ 1283452 w 1843773"/>
              <a:gd name="connsiteY6" fmla="*/ 273350 h 1032128"/>
              <a:gd name="connsiteX7" fmla="*/ 555117 w 1843773"/>
              <a:gd name="connsiteY7" fmla="*/ 734730 h 1032128"/>
              <a:gd name="connsiteX8" fmla="*/ 234654 w 1843773"/>
              <a:gd name="connsiteY8" fmla="*/ 943302 h 1032128"/>
              <a:gd name="connsiteX9" fmla="*/ 11886 w 1843773"/>
              <a:gd name="connsiteY9" fmla="*/ 1028781 h 1032128"/>
              <a:gd name="connsiteX0" fmla="*/ 11886 w 1843773"/>
              <a:gd name="connsiteY0" fmla="*/ 1028781 h 1032128"/>
              <a:gd name="connsiteX1" fmla="*/ 224717 w 1843773"/>
              <a:gd name="connsiteY1" fmla="*/ 803816 h 1032128"/>
              <a:gd name="connsiteX2" fmla="*/ 490811 w 1843773"/>
              <a:gd name="connsiteY2" fmla="*/ 590533 h 1032128"/>
              <a:gd name="connsiteX3" fmla="*/ 929418 w 1843773"/>
              <a:gd name="connsiteY3" fmla="*/ 305173 h 1032128"/>
              <a:gd name="connsiteX4" fmla="*/ 1321820 w 1843773"/>
              <a:gd name="connsiteY4" fmla="*/ 101690 h 1032128"/>
              <a:gd name="connsiteX5" fmla="*/ 1843773 w 1843773"/>
              <a:gd name="connsiteY5" fmla="*/ 0 h 1032128"/>
              <a:gd name="connsiteX6" fmla="*/ 1283452 w 1843773"/>
              <a:gd name="connsiteY6" fmla="*/ 273350 h 1032128"/>
              <a:gd name="connsiteX7" fmla="*/ 555117 w 1843773"/>
              <a:gd name="connsiteY7" fmla="*/ 734730 h 1032128"/>
              <a:gd name="connsiteX8" fmla="*/ 234654 w 1843773"/>
              <a:gd name="connsiteY8" fmla="*/ 943302 h 1032128"/>
              <a:gd name="connsiteX9" fmla="*/ 11886 w 1843773"/>
              <a:gd name="connsiteY9" fmla="*/ 1028781 h 1032128"/>
              <a:gd name="connsiteX0" fmla="*/ 13822 w 1804824"/>
              <a:gd name="connsiteY0" fmla="*/ 977872 h 982972"/>
              <a:gd name="connsiteX1" fmla="*/ 185768 w 1804824"/>
              <a:gd name="connsiteY1" fmla="*/ 803816 h 982972"/>
              <a:gd name="connsiteX2" fmla="*/ 451862 w 1804824"/>
              <a:gd name="connsiteY2" fmla="*/ 590533 h 982972"/>
              <a:gd name="connsiteX3" fmla="*/ 890469 w 1804824"/>
              <a:gd name="connsiteY3" fmla="*/ 305173 h 982972"/>
              <a:gd name="connsiteX4" fmla="*/ 1282871 w 1804824"/>
              <a:gd name="connsiteY4" fmla="*/ 101690 h 982972"/>
              <a:gd name="connsiteX5" fmla="*/ 1804824 w 1804824"/>
              <a:gd name="connsiteY5" fmla="*/ 0 h 982972"/>
              <a:gd name="connsiteX6" fmla="*/ 1244503 w 1804824"/>
              <a:gd name="connsiteY6" fmla="*/ 273350 h 982972"/>
              <a:gd name="connsiteX7" fmla="*/ 516168 w 1804824"/>
              <a:gd name="connsiteY7" fmla="*/ 734730 h 982972"/>
              <a:gd name="connsiteX8" fmla="*/ 195705 w 1804824"/>
              <a:gd name="connsiteY8" fmla="*/ 943302 h 982972"/>
              <a:gd name="connsiteX9" fmla="*/ 13822 w 1804824"/>
              <a:gd name="connsiteY9" fmla="*/ 977872 h 982972"/>
              <a:gd name="connsiteX0" fmla="*/ 13822 w 1826701"/>
              <a:gd name="connsiteY0" fmla="*/ 966052 h 971152"/>
              <a:gd name="connsiteX1" fmla="*/ 185768 w 1826701"/>
              <a:gd name="connsiteY1" fmla="*/ 791996 h 971152"/>
              <a:gd name="connsiteX2" fmla="*/ 451862 w 1826701"/>
              <a:gd name="connsiteY2" fmla="*/ 578713 h 971152"/>
              <a:gd name="connsiteX3" fmla="*/ 890469 w 1826701"/>
              <a:gd name="connsiteY3" fmla="*/ 293353 h 971152"/>
              <a:gd name="connsiteX4" fmla="*/ 1282871 w 1826701"/>
              <a:gd name="connsiteY4" fmla="*/ 89870 h 971152"/>
              <a:gd name="connsiteX5" fmla="*/ 1826701 w 1826701"/>
              <a:gd name="connsiteY5" fmla="*/ 0 h 971152"/>
              <a:gd name="connsiteX6" fmla="*/ 1244503 w 1826701"/>
              <a:gd name="connsiteY6" fmla="*/ 261530 h 971152"/>
              <a:gd name="connsiteX7" fmla="*/ 516168 w 1826701"/>
              <a:gd name="connsiteY7" fmla="*/ 722910 h 971152"/>
              <a:gd name="connsiteX8" fmla="*/ 195705 w 1826701"/>
              <a:gd name="connsiteY8" fmla="*/ 931482 h 971152"/>
              <a:gd name="connsiteX9" fmla="*/ 13822 w 1826701"/>
              <a:gd name="connsiteY9" fmla="*/ 966052 h 971152"/>
              <a:gd name="connsiteX0" fmla="*/ 13822 w 1826701"/>
              <a:gd name="connsiteY0" fmla="*/ 966052 h 971152"/>
              <a:gd name="connsiteX1" fmla="*/ 185768 w 1826701"/>
              <a:gd name="connsiteY1" fmla="*/ 791996 h 971152"/>
              <a:gd name="connsiteX2" fmla="*/ 451862 w 1826701"/>
              <a:gd name="connsiteY2" fmla="*/ 578713 h 971152"/>
              <a:gd name="connsiteX3" fmla="*/ 890469 w 1826701"/>
              <a:gd name="connsiteY3" fmla="*/ 293353 h 971152"/>
              <a:gd name="connsiteX4" fmla="*/ 1282871 w 1826701"/>
              <a:gd name="connsiteY4" fmla="*/ 89870 h 971152"/>
              <a:gd name="connsiteX5" fmla="*/ 1826701 w 1826701"/>
              <a:gd name="connsiteY5" fmla="*/ 0 h 971152"/>
              <a:gd name="connsiteX6" fmla="*/ 1264697 w 1826701"/>
              <a:gd name="connsiteY6" fmla="*/ 285171 h 971152"/>
              <a:gd name="connsiteX7" fmla="*/ 516168 w 1826701"/>
              <a:gd name="connsiteY7" fmla="*/ 722910 h 971152"/>
              <a:gd name="connsiteX8" fmla="*/ 195705 w 1826701"/>
              <a:gd name="connsiteY8" fmla="*/ 931482 h 971152"/>
              <a:gd name="connsiteX9" fmla="*/ 13822 w 1826701"/>
              <a:gd name="connsiteY9" fmla="*/ 966052 h 971152"/>
              <a:gd name="connsiteX0" fmla="*/ 13822 w 1826701"/>
              <a:gd name="connsiteY0" fmla="*/ 966052 h 971152"/>
              <a:gd name="connsiteX1" fmla="*/ 185768 w 1826701"/>
              <a:gd name="connsiteY1" fmla="*/ 791996 h 971152"/>
              <a:gd name="connsiteX2" fmla="*/ 451862 w 1826701"/>
              <a:gd name="connsiteY2" fmla="*/ 578713 h 971152"/>
              <a:gd name="connsiteX3" fmla="*/ 890469 w 1826701"/>
              <a:gd name="connsiteY3" fmla="*/ 293353 h 971152"/>
              <a:gd name="connsiteX4" fmla="*/ 1282871 w 1826701"/>
              <a:gd name="connsiteY4" fmla="*/ 89870 h 971152"/>
              <a:gd name="connsiteX5" fmla="*/ 1826701 w 1826701"/>
              <a:gd name="connsiteY5" fmla="*/ 0 h 971152"/>
              <a:gd name="connsiteX6" fmla="*/ 1264697 w 1826701"/>
              <a:gd name="connsiteY6" fmla="*/ 285171 h 971152"/>
              <a:gd name="connsiteX7" fmla="*/ 516168 w 1826701"/>
              <a:gd name="connsiteY7" fmla="*/ 722910 h 971152"/>
              <a:gd name="connsiteX8" fmla="*/ 195705 w 1826701"/>
              <a:gd name="connsiteY8" fmla="*/ 931482 h 971152"/>
              <a:gd name="connsiteX9" fmla="*/ 13822 w 1826701"/>
              <a:gd name="connsiteY9" fmla="*/ 966052 h 971152"/>
              <a:gd name="connsiteX0" fmla="*/ 13822 w 1826701"/>
              <a:gd name="connsiteY0" fmla="*/ 966052 h 971152"/>
              <a:gd name="connsiteX1" fmla="*/ 185768 w 1826701"/>
              <a:gd name="connsiteY1" fmla="*/ 791996 h 971152"/>
              <a:gd name="connsiteX2" fmla="*/ 451862 w 1826701"/>
              <a:gd name="connsiteY2" fmla="*/ 578713 h 971152"/>
              <a:gd name="connsiteX3" fmla="*/ 890469 w 1826701"/>
              <a:gd name="connsiteY3" fmla="*/ 293353 h 971152"/>
              <a:gd name="connsiteX4" fmla="*/ 1282871 w 1826701"/>
              <a:gd name="connsiteY4" fmla="*/ 89870 h 971152"/>
              <a:gd name="connsiteX5" fmla="*/ 1826701 w 1826701"/>
              <a:gd name="connsiteY5" fmla="*/ 0 h 971152"/>
              <a:gd name="connsiteX6" fmla="*/ 1264697 w 1826701"/>
              <a:gd name="connsiteY6" fmla="*/ 285171 h 971152"/>
              <a:gd name="connsiteX7" fmla="*/ 516168 w 1826701"/>
              <a:gd name="connsiteY7" fmla="*/ 722910 h 971152"/>
              <a:gd name="connsiteX8" fmla="*/ 195705 w 1826701"/>
              <a:gd name="connsiteY8" fmla="*/ 931482 h 971152"/>
              <a:gd name="connsiteX9" fmla="*/ 13822 w 1826701"/>
              <a:gd name="connsiteY9" fmla="*/ 966052 h 971152"/>
              <a:gd name="connsiteX0" fmla="*/ 13822 w 1826701"/>
              <a:gd name="connsiteY0" fmla="*/ 966052 h 971152"/>
              <a:gd name="connsiteX1" fmla="*/ 185768 w 1826701"/>
              <a:gd name="connsiteY1" fmla="*/ 791996 h 971152"/>
              <a:gd name="connsiteX2" fmla="*/ 451862 w 1826701"/>
              <a:gd name="connsiteY2" fmla="*/ 578713 h 971152"/>
              <a:gd name="connsiteX3" fmla="*/ 890469 w 1826701"/>
              <a:gd name="connsiteY3" fmla="*/ 293353 h 971152"/>
              <a:gd name="connsiteX4" fmla="*/ 1282871 w 1826701"/>
              <a:gd name="connsiteY4" fmla="*/ 89870 h 971152"/>
              <a:gd name="connsiteX5" fmla="*/ 1826701 w 1826701"/>
              <a:gd name="connsiteY5" fmla="*/ 0 h 971152"/>
              <a:gd name="connsiteX6" fmla="*/ 1264697 w 1826701"/>
              <a:gd name="connsiteY6" fmla="*/ 285171 h 971152"/>
              <a:gd name="connsiteX7" fmla="*/ 516168 w 1826701"/>
              <a:gd name="connsiteY7" fmla="*/ 722910 h 971152"/>
              <a:gd name="connsiteX8" fmla="*/ 195705 w 1826701"/>
              <a:gd name="connsiteY8" fmla="*/ 931482 h 971152"/>
              <a:gd name="connsiteX9" fmla="*/ 13822 w 1826701"/>
              <a:gd name="connsiteY9" fmla="*/ 966052 h 971152"/>
              <a:gd name="connsiteX0" fmla="*/ 13822 w 1826701"/>
              <a:gd name="connsiteY0" fmla="*/ 966052 h 990722"/>
              <a:gd name="connsiteX1" fmla="*/ 185768 w 1826701"/>
              <a:gd name="connsiteY1" fmla="*/ 791996 h 990722"/>
              <a:gd name="connsiteX2" fmla="*/ 451862 w 1826701"/>
              <a:gd name="connsiteY2" fmla="*/ 578713 h 990722"/>
              <a:gd name="connsiteX3" fmla="*/ 890469 w 1826701"/>
              <a:gd name="connsiteY3" fmla="*/ 293353 h 990722"/>
              <a:gd name="connsiteX4" fmla="*/ 1282871 w 1826701"/>
              <a:gd name="connsiteY4" fmla="*/ 89870 h 990722"/>
              <a:gd name="connsiteX5" fmla="*/ 1826701 w 1826701"/>
              <a:gd name="connsiteY5" fmla="*/ 0 h 990722"/>
              <a:gd name="connsiteX6" fmla="*/ 1264697 w 1826701"/>
              <a:gd name="connsiteY6" fmla="*/ 285171 h 990722"/>
              <a:gd name="connsiteX7" fmla="*/ 516168 w 1826701"/>
              <a:gd name="connsiteY7" fmla="*/ 722910 h 990722"/>
              <a:gd name="connsiteX8" fmla="*/ 175511 w 1826701"/>
              <a:gd name="connsiteY8" fmla="*/ 971672 h 990722"/>
              <a:gd name="connsiteX9" fmla="*/ 13822 w 1826701"/>
              <a:gd name="connsiteY9" fmla="*/ 966052 h 990722"/>
              <a:gd name="connsiteX0" fmla="*/ 11952 w 1864097"/>
              <a:gd name="connsiteY0" fmla="*/ 997573 h 1006466"/>
              <a:gd name="connsiteX1" fmla="*/ 223164 w 1864097"/>
              <a:gd name="connsiteY1" fmla="*/ 791996 h 1006466"/>
              <a:gd name="connsiteX2" fmla="*/ 489258 w 1864097"/>
              <a:gd name="connsiteY2" fmla="*/ 578713 h 1006466"/>
              <a:gd name="connsiteX3" fmla="*/ 927865 w 1864097"/>
              <a:gd name="connsiteY3" fmla="*/ 293353 h 1006466"/>
              <a:gd name="connsiteX4" fmla="*/ 1320267 w 1864097"/>
              <a:gd name="connsiteY4" fmla="*/ 89870 h 1006466"/>
              <a:gd name="connsiteX5" fmla="*/ 1864097 w 1864097"/>
              <a:gd name="connsiteY5" fmla="*/ 0 h 1006466"/>
              <a:gd name="connsiteX6" fmla="*/ 1302093 w 1864097"/>
              <a:gd name="connsiteY6" fmla="*/ 285171 h 1006466"/>
              <a:gd name="connsiteX7" fmla="*/ 553564 w 1864097"/>
              <a:gd name="connsiteY7" fmla="*/ 722910 h 1006466"/>
              <a:gd name="connsiteX8" fmla="*/ 212907 w 1864097"/>
              <a:gd name="connsiteY8" fmla="*/ 971672 h 1006466"/>
              <a:gd name="connsiteX9" fmla="*/ 11952 w 1864097"/>
              <a:gd name="connsiteY9" fmla="*/ 997573 h 1006466"/>
              <a:gd name="connsiteX0" fmla="*/ 11952 w 1864097"/>
              <a:gd name="connsiteY0" fmla="*/ 997573 h 1005089"/>
              <a:gd name="connsiteX1" fmla="*/ 223164 w 1864097"/>
              <a:gd name="connsiteY1" fmla="*/ 791996 h 1005089"/>
              <a:gd name="connsiteX2" fmla="*/ 489258 w 1864097"/>
              <a:gd name="connsiteY2" fmla="*/ 578713 h 1005089"/>
              <a:gd name="connsiteX3" fmla="*/ 927865 w 1864097"/>
              <a:gd name="connsiteY3" fmla="*/ 293353 h 1005089"/>
              <a:gd name="connsiteX4" fmla="*/ 1320267 w 1864097"/>
              <a:gd name="connsiteY4" fmla="*/ 89870 h 1005089"/>
              <a:gd name="connsiteX5" fmla="*/ 1864097 w 1864097"/>
              <a:gd name="connsiteY5" fmla="*/ 0 h 1005089"/>
              <a:gd name="connsiteX6" fmla="*/ 1302093 w 1864097"/>
              <a:gd name="connsiteY6" fmla="*/ 285171 h 1005089"/>
              <a:gd name="connsiteX7" fmla="*/ 553564 w 1864097"/>
              <a:gd name="connsiteY7" fmla="*/ 722910 h 1005089"/>
              <a:gd name="connsiteX8" fmla="*/ 257782 w 1864097"/>
              <a:gd name="connsiteY8" fmla="*/ 967732 h 1005089"/>
              <a:gd name="connsiteX9" fmla="*/ 11952 w 1864097"/>
              <a:gd name="connsiteY9" fmla="*/ 997573 h 1005089"/>
              <a:gd name="connsiteX0" fmla="*/ 11952 w 1864097"/>
              <a:gd name="connsiteY0" fmla="*/ 997573 h 1003931"/>
              <a:gd name="connsiteX1" fmla="*/ 223164 w 1864097"/>
              <a:gd name="connsiteY1" fmla="*/ 791996 h 1003931"/>
              <a:gd name="connsiteX2" fmla="*/ 489258 w 1864097"/>
              <a:gd name="connsiteY2" fmla="*/ 578713 h 1003931"/>
              <a:gd name="connsiteX3" fmla="*/ 927865 w 1864097"/>
              <a:gd name="connsiteY3" fmla="*/ 293353 h 1003931"/>
              <a:gd name="connsiteX4" fmla="*/ 1320267 w 1864097"/>
              <a:gd name="connsiteY4" fmla="*/ 89870 h 1003931"/>
              <a:gd name="connsiteX5" fmla="*/ 1864097 w 1864097"/>
              <a:gd name="connsiteY5" fmla="*/ 0 h 1003931"/>
              <a:gd name="connsiteX6" fmla="*/ 1302093 w 1864097"/>
              <a:gd name="connsiteY6" fmla="*/ 285171 h 1003931"/>
              <a:gd name="connsiteX7" fmla="*/ 553564 w 1864097"/>
              <a:gd name="connsiteY7" fmla="*/ 722910 h 1003931"/>
              <a:gd name="connsiteX8" fmla="*/ 266196 w 1864097"/>
              <a:gd name="connsiteY8" fmla="*/ 963791 h 1003931"/>
              <a:gd name="connsiteX9" fmla="*/ 11952 w 1864097"/>
              <a:gd name="connsiteY9" fmla="*/ 997573 h 1003931"/>
              <a:gd name="connsiteX0" fmla="*/ 11952 w 1864097"/>
              <a:gd name="connsiteY0" fmla="*/ 997573 h 1012392"/>
              <a:gd name="connsiteX1" fmla="*/ 223164 w 1864097"/>
              <a:gd name="connsiteY1" fmla="*/ 791996 h 1012392"/>
              <a:gd name="connsiteX2" fmla="*/ 489258 w 1864097"/>
              <a:gd name="connsiteY2" fmla="*/ 578713 h 1012392"/>
              <a:gd name="connsiteX3" fmla="*/ 927865 w 1864097"/>
              <a:gd name="connsiteY3" fmla="*/ 293353 h 1012392"/>
              <a:gd name="connsiteX4" fmla="*/ 1320267 w 1864097"/>
              <a:gd name="connsiteY4" fmla="*/ 89870 h 1012392"/>
              <a:gd name="connsiteX5" fmla="*/ 1864097 w 1864097"/>
              <a:gd name="connsiteY5" fmla="*/ 0 h 1012392"/>
              <a:gd name="connsiteX6" fmla="*/ 1302093 w 1864097"/>
              <a:gd name="connsiteY6" fmla="*/ 285171 h 1012392"/>
              <a:gd name="connsiteX7" fmla="*/ 553564 w 1864097"/>
              <a:gd name="connsiteY7" fmla="*/ 722910 h 1012392"/>
              <a:gd name="connsiteX8" fmla="*/ 266196 w 1864097"/>
              <a:gd name="connsiteY8" fmla="*/ 963791 h 1012392"/>
              <a:gd name="connsiteX9" fmla="*/ 11952 w 1864097"/>
              <a:gd name="connsiteY9" fmla="*/ 997573 h 101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4097" h="1012392">
                <a:moveTo>
                  <a:pt x="11952" y="997573"/>
                </a:moveTo>
                <a:cubicBezTo>
                  <a:pt x="-49753" y="1027771"/>
                  <a:pt x="143613" y="861806"/>
                  <a:pt x="223164" y="791996"/>
                </a:cubicBezTo>
                <a:cubicBezTo>
                  <a:pt x="302715" y="722186"/>
                  <a:pt x="371808" y="661820"/>
                  <a:pt x="489258" y="578713"/>
                </a:cubicBezTo>
                <a:cubicBezTo>
                  <a:pt x="606708" y="495606"/>
                  <a:pt x="648084" y="460570"/>
                  <a:pt x="927865" y="293353"/>
                </a:cubicBezTo>
                <a:cubicBezTo>
                  <a:pt x="1039560" y="201491"/>
                  <a:pt x="1181676" y="149301"/>
                  <a:pt x="1320267" y="89870"/>
                </a:cubicBezTo>
                <a:cubicBezTo>
                  <a:pt x="1511881" y="-595"/>
                  <a:pt x="1707148" y="14923"/>
                  <a:pt x="1864097" y="0"/>
                </a:cubicBezTo>
                <a:cubicBezTo>
                  <a:pt x="1641828" y="107826"/>
                  <a:pt x="1658850" y="113730"/>
                  <a:pt x="1302093" y="285171"/>
                </a:cubicBezTo>
                <a:lnTo>
                  <a:pt x="553564" y="722910"/>
                </a:lnTo>
                <a:cubicBezTo>
                  <a:pt x="384539" y="826076"/>
                  <a:pt x="328418" y="890433"/>
                  <a:pt x="266196" y="963791"/>
                </a:cubicBezTo>
                <a:cubicBezTo>
                  <a:pt x="203974" y="1037149"/>
                  <a:pt x="15124" y="1008692"/>
                  <a:pt x="11952" y="997573"/>
                </a:cubicBezTo>
                <a:close/>
              </a:path>
            </a:pathLst>
          </a:custGeom>
          <a:pattFill prst="pct25">
            <a:fgClr>
              <a:schemeClr val="accent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50" name="자유형 249"/>
          <p:cNvSpPr/>
          <p:nvPr>
            <p:custDataLst>
              <p:tags r:id="rId2"/>
            </p:custDataLst>
          </p:nvPr>
        </p:nvSpPr>
        <p:spPr>
          <a:xfrm>
            <a:off x="1826559" y="2673351"/>
            <a:ext cx="1414073" cy="873174"/>
          </a:xfrm>
          <a:custGeom>
            <a:avLst/>
            <a:gdLst>
              <a:gd name="connsiteX0" fmla="*/ 0 w 1470212"/>
              <a:gd name="connsiteY0" fmla="*/ 34065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40659 h 923365"/>
              <a:gd name="connsiteX5" fmla="*/ 0 w 1470212"/>
              <a:gd name="connsiteY5" fmla="*/ 340659 h 923365"/>
              <a:gd name="connsiteX0" fmla="*/ 0 w 1470212"/>
              <a:gd name="connsiteY0" fmla="*/ 34065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40659 h 923365"/>
              <a:gd name="connsiteX5" fmla="*/ 0 w 1470212"/>
              <a:gd name="connsiteY5" fmla="*/ 340659 h 923365"/>
              <a:gd name="connsiteX0" fmla="*/ 0 w 1470212"/>
              <a:gd name="connsiteY0" fmla="*/ 34065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40659 h 923365"/>
              <a:gd name="connsiteX5" fmla="*/ 0 w 1470212"/>
              <a:gd name="connsiteY5" fmla="*/ 340659 h 923365"/>
              <a:gd name="connsiteX0" fmla="*/ 0 w 1470212"/>
              <a:gd name="connsiteY0" fmla="*/ 37956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40659 h 923365"/>
              <a:gd name="connsiteX5" fmla="*/ 0 w 1470212"/>
              <a:gd name="connsiteY5" fmla="*/ 379569 h 923365"/>
              <a:gd name="connsiteX0" fmla="*/ 0 w 1470212"/>
              <a:gd name="connsiteY0" fmla="*/ 37956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40659 h 923365"/>
              <a:gd name="connsiteX5" fmla="*/ 0 w 1470212"/>
              <a:gd name="connsiteY5" fmla="*/ 379569 h 923365"/>
              <a:gd name="connsiteX0" fmla="*/ 0 w 1470212"/>
              <a:gd name="connsiteY0" fmla="*/ 37956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30932 h 923365"/>
              <a:gd name="connsiteX5" fmla="*/ 0 w 1470212"/>
              <a:gd name="connsiteY5" fmla="*/ 379569 h 923365"/>
              <a:gd name="connsiteX0" fmla="*/ 0 w 1470212"/>
              <a:gd name="connsiteY0" fmla="*/ 37956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30932 h 923365"/>
              <a:gd name="connsiteX5" fmla="*/ 0 w 1470212"/>
              <a:gd name="connsiteY5" fmla="*/ 379569 h 923365"/>
              <a:gd name="connsiteX0" fmla="*/ 0 w 1470212"/>
              <a:gd name="connsiteY0" fmla="*/ 379569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30932 h 923365"/>
              <a:gd name="connsiteX5" fmla="*/ 0 w 1470212"/>
              <a:gd name="connsiteY5" fmla="*/ 379569 h 923365"/>
              <a:gd name="connsiteX0" fmla="*/ 10036 w 1470212"/>
              <a:gd name="connsiteY0" fmla="*/ 339648 h 923365"/>
              <a:gd name="connsiteX1" fmla="*/ 0 w 1470212"/>
              <a:gd name="connsiteY1" fmla="*/ 923365 h 923365"/>
              <a:gd name="connsiteX2" fmla="*/ 627529 w 1470212"/>
              <a:gd name="connsiteY2" fmla="*/ 887506 h 923365"/>
              <a:gd name="connsiteX3" fmla="*/ 1470212 w 1470212"/>
              <a:gd name="connsiteY3" fmla="*/ 0 h 923365"/>
              <a:gd name="connsiteX4" fmla="*/ 654423 w 1470212"/>
              <a:gd name="connsiteY4" fmla="*/ 330932 h 923365"/>
              <a:gd name="connsiteX5" fmla="*/ 10036 w 1470212"/>
              <a:gd name="connsiteY5" fmla="*/ 339648 h 923365"/>
              <a:gd name="connsiteX0" fmla="*/ 10036 w 1470212"/>
              <a:gd name="connsiteY0" fmla="*/ 339648 h 923365"/>
              <a:gd name="connsiteX1" fmla="*/ 0 w 1470212"/>
              <a:gd name="connsiteY1" fmla="*/ 923365 h 923365"/>
              <a:gd name="connsiteX2" fmla="*/ 627529 w 1470212"/>
              <a:gd name="connsiteY2" fmla="*/ 887506 h 923365"/>
              <a:gd name="connsiteX3" fmla="*/ 1470212 w 1470212"/>
              <a:gd name="connsiteY3" fmla="*/ 0 h 923365"/>
              <a:gd name="connsiteX4" fmla="*/ 674495 w 1470212"/>
              <a:gd name="connsiteY4" fmla="*/ 300991 h 923365"/>
              <a:gd name="connsiteX5" fmla="*/ 10036 w 1470212"/>
              <a:gd name="connsiteY5" fmla="*/ 339648 h 923365"/>
              <a:gd name="connsiteX0" fmla="*/ 10036 w 1470212"/>
              <a:gd name="connsiteY0" fmla="*/ 339648 h 923365"/>
              <a:gd name="connsiteX1" fmla="*/ 0 w 1470212"/>
              <a:gd name="connsiteY1" fmla="*/ 923365 h 923365"/>
              <a:gd name="connsiteX2" fmla="*/ 627529 w 1470212"/>
              <a:gd name="connsiteY2" fmla="*/ 887506 h 923365"/>
              <a:gd name="connsiteX3" fmla="*/ 1470212 w 1470212"/>
              <a:gd name="connsiteY3" fmla="*/ 0 h 923365"/>
              <a:gd name="connsiteX4" fmla="*/ 644386 w 1470212"/>
              <a:gd name="connsiteY4" fmla="*/ 281030 h 923365"/>
              <a:gd name="connsiteX5" fmla="*/ 10036 w 1470212"/>
              <a:gd name="connsiteY5" fmla="*/ 339648 h 923365"/>
              <a:gd name="connsiteX0" fmla="*/ 10036 w 1470212"/>
              <a:gd name="connsiteY0" fmla="*/ 339648 h 923365"/>
              <a:gd name="connsiteX1" fmla="*/ 0 w 1470212"/>
              <a:gd name="connsiteY1" fmla="*/ 923365 h 923365"/>
              <a:gd name="connsiteX2" fmla="*/ 627529 w 1470212"/>
              <a:gd name="connsiteY2" fmla="*/ 887506 h 923365"/>
              <a:gd name="connsiteX3" fmla="*/ 1470212 w 1470212"/>
              <a:gd name="connsiteY3" fmla="*/ 0 h 923365"/>
              <a:gd name="connsiteX4" fmla="*/ 644386 w 1470212"/>
              <a:gd name="connsiteY4" fmla="*/ 281030 h 923365"/>
              <a:gd name="connsiteX5" fmla="*/ 10036 w 1470212"/>
              <a:gd name="connsiteY5" fmla="*/ 339648 h 923365"/>
              <a:gd name="connsiteX0" fmla="*/ 10036 w 1470212"/>
              <a:gd name="connsiteY0" fmla="*/ 339648 h 923365"/>
              <a:gd name="connsiteX1" fmla="*/ 0 w 1470212"/>
              <a:gd name="connsiteY1" fmla="*/ 923365 h 923365"/>
              <a:gd name="connsiteX2" fmla="*/ 627529 w 1470212"/>
              <a:gd name="connsiteY2" fmla="*/ 887506 h 923365"/>
              <a:gd name="connsiteX3" fmla="*/ 1470212 w 1470212"/>
              <a:gd name="connsiteY3" fmla="*/ 0 h 923365"/>
              <a:gd name="connsiteX4" fmla="*/ 644386 w 1470212"/>
              <a:gd name="connsiteY4" fmla="*/ 281030 h 923365"/>
              <a:gd name="connsiteX5" fmla="*/ 10036 w 1470212"/>
              <a:gd name="connsiteY5" fmla="*/ 339648 h 923365"/>
              <a:gd name="connsiteX0" fmla="*/ 10036 w 1560539"/>
              <a:gd name="connsiteY0" fmla="*/ 349629 h 933346"/>
              <a:gd name="connsiteX1" fmla="*/ 0 w 1560539"/>
              <a:gd name="connsiteY1" fmla="*/ 933346 h 933346"/>
              <a:gd name="connsiteX2" fmla="*/ 627529 w 1560539"/>
              <a:gd name="connsiteY2" fmla="*/ 897487 h 933346"/>
              <a:gd name="connsiteX3" fmla="*/ 1560539 w 1560539"/>
              <a:gd name="connsiteY3" fmla="*/ 0 h 933346"/>
              <a:gd name="connsiteX4" fmla="*/ 644386 w 1560539"/>
              <a:gd name="connsiteY4" fmla="*/ 291011 h 933346"/>
              <a:gd name="connsiteX5" fmla="*/ 10036 w 1560539"/>
              <a:gd name="connsiteY5" fmla="*/ 349629 h 933346"/>
              <a:gd name="connsiteX0" fmla="*/ 10036 w 1560539"/>
              <a:gd name="connsiteY0" fmla="*/ 359801 h 943518"/>
              <a:gd name="connsiteX1" fmla="*/ 0 w 1560539"/>
              <a:gd name="connsiteY1" fmla="*/ 943518 h 943518"/>
              <a:gd name="connsiteX2" fmla="*/ 627529 w 1560539"/>
              <a:gd name="connsiteY2" fmla="*/ 907659 h 943518"/>
              <a:gd name="connsiteX3" fmla="*/ 1560539 w 1560539"/>
              <a:gd name="connsiteY3" fmla="*/ 10172 h 943518"/>
              <a:gd name="connsiteX4" fmla="*/ 644386 w 1560539"/>
              <a:gd name="connsiteY4" fmla="*/ 301183 h 943518"/>
              <a:gd name="connsiteX5" fmla="*/ 10036 w 1560539"/>
              <a:gd name="connsiteY5" fmla="*/ 359801 h 943518"/>
              <a:gd name="connsiteX0" fmla="*/ 10036 w 1560539"/>
              <a:gd name="connsiteY0" fmla="*/ 359801 h 943518"/>
              <a:gd name="connsiteX1" fmla="*/ 0 w 1560539"/>
              <a:gd name="connsiteY1" fmla="*/ 943518 h 943518"/>
              <a:gd name="connsiteX2" fmla="*/ 717855 w 1560539"/>
              <a:gd name="connsiteY2" fmla="*/ 877718 h 943518"/>
              <a:gd name="connsiteX3" fmla="*/ 1560539 w 1560539"/>
              <a:gd name="connsiteY3" fmla="*/ 10172 h 943518"/>
              <a:gd name="connsiteX4" fmla="*/ 644386 w 1560539"/>
              <a:gd name="connsiteY4" fmla="*/ 301183 h 943518"/>
              <a:gd name="connsiteX5" fmla="*/ 10036 w 1560539"/>
              <a:gd name="connsiteY5" fmla="*/ 359801 h 943518"/>
              <a:gd name="connsiteX0" fmla="*/ 10036 w 1560539"/>
              <a:gd name="connsiteY0" fmla="*/ 359801 h 943518"/>
              <a:gd name="connsiteX1" fmla="*/ 0 w 1560539"/>
              <a:gd name="connsiteY1" fmla="*/ 943518 h 943518"/>
              <a:gd name="connsiteX2" fmla="*/ 717855 w 1560539"/>
              <a:gd name="connsiteY2" fmla="*/ 877718 h 943518"/>
              <a:gd name="connsiteX3" fmla="*/ 1560539 w 1560539"/>
              <a:gd name="connsiteY3" fmla="*/ 10172 h 943518"/>
              <a:gd name="connsiteX4" fmla="*/ 644386 w 1560539"/>
              <a:gd name="connsiteY4" fmla="*/ 301183 h 943518"/>
              <a:gd name="connsiteX5" fmla="*/ 10036 w 1560539"/>
              <a:gd name="connsiteY5" fmla="*/ 359801 h 943518"/>
              <a:gd name="connsiteX0" fmla="*/ 10036 w 1582455"/>
              <a:gd name="connsiteY0" fmla="*/ 423732 h 1007449"/>
              <a:gd name="connsiteX1" fmla="*/ 0 w 1582455"/>
              <a:gd name="connsiteY1" fmla="*/ 1007449 h 1007449"/>
              <a:gd name="connsiteX2" fmla="*/ 717855 w 1582455"/>
              <a:gd name="connsiteY2" fmla="*/ 941649 h 1007449"/>
              <a:gd name="connsiteX3" fmla="*/ 1560539 w 1582455"/>
              <a:gd name="connsiteY3" fmla="*/ 74103 h 1007449"/>
              <a:gd name="connsiteX4" fmla="*/ 1276602 w 1582455"/>
              <a:gd name="connsiteY4" fmla="*/ 79873 h 1007449"/>
              <a:gd name="connsiteX5" fmla="*/ 644386 w 1582455"/>
              <a:gd name="connsiteY5" fmla="*/ 365114 h 1007449"/>
              <a:gd name="connsiteX6" fmla="*/ 10036 w 1582455"/>
              <a:gd name="connsiteY6" fmla="*/ 423732 h 1007449"/>
              <a:gd name="connsiteX0" fmla="*/ 10036 w 1586233"/>
              <a:gd name="connsiteY0" fmla="*/ 436926 h 1020643"/>
              <a:gd name="connsiteX1" fmla="*/ 0 w 1586233"/>
              <a:gd name="connsiteY1" fmla="*/ 1020643 h 1020643"/>
              <a:gd name="connsiteX2" fmla="*/ 717855 w 1586233"/>
              <a:gd name="connsiteY2" fmla="*/ 954843 h 1020643"/>
              <a:gd name="connsiteX3" fmla="*/ 1560539 w 1586233"/>
              <a:gd name="connsiteY3" fmla="*/ 87297 h 1020643"/>
              <a:gd name="connsiteX4" fmla="*/ 1322358 w 1586233"/>
              <a:gd name="connsiteY4" fmla="*/ 58067 h 1020643"/>
              <a:gd name="connsiteX5" fmla="*/ 644386 w 1586233"/>
              <a:gd name="connsiteY5" fmla="*/ 378308 h 1020643"/>
              <a:gd name="connsiteX6" fmla="*/ 10036 w 1586233"/>
              <a:gd name="connsiteY6" fmla="*/ 436926 h 1020643"/>
              <a:gd name="connsiteX0" fmla="*/ 10036 w 1603965"/>
              <a:gd name="connsiteY0" fmla="*/ 418048 h 1001765"/>
              <a:gd name="connsiteX1" fmla="*/ 0 w 1603965"/>
              <a:gd name="connsiteY1" fmla="*/ 1001765 h 1001765"/>
              <a:gd name="connsiteX2" fmla="*/ 717855 w 1603965"/>
              <a:gd name="connsiteY2" fmla="*/ 935965 h 1001765"/>
              <a:gd name="connsiteX3" fmla="*/ 1560539 w 1603965"/>
              <a:gd name="connsiteY3" fmla="*/ 68419 h 1001765"/>
              <a:gd name="connsiteX4" fmla="*/ 1456105 w 1603965"/>
              <a:gd name="connsiteY4" fmla="*/ 70690 h 1001765"/>
              <a:gd name="connsiteX5" fmla="*/ 1322358 w 1603965"/>
              <a:gd name="connsiteY5" fmla="*/ 39189 h 1001765"/>
              <a:gd name="connsiteX6" fmla="*/ 644386 w 1603965"/>
              <a:gd name="connsiteY6" fmla="*/ 359430 h 1001765"/>
              <a:gd name="connsiteX7" fmla="*/ 10036 w 1603965"/>
              <a:gd name="connsiteY7" fmla="*/ 418048 h 1001765"/>
              <a:gd name="connsiteX0" fmla="*/ 10036 w 1619350"/>
              <a:gd name="connsiteY0" fmla="*/ 420420 h 1004137"/>
              <a:gd name="connsiteX1" fmla="*/ 0 w 1619350"/>
              <a:gd name="connsiteY1" fmla="*/ 1004137 h 1004137"/>
              <a:gd name="connsiteX2" fmla="*/ 717855 w 1619350"/>
              <a:gd name="connsiteY2" fmla="*/ 938337 h 1004137"/>
              <a:gd name="connsiteX3" fmla="*/ 1560539 w 1619350"/>
              <a:gd name="connsiteY3" fmla="*/ 70791 h 1004137"/>
              <a:gd name="connsiteX4" fmla="*/ 1515939 w 1619350"/>
              <a:gd name="connsiteY4" fmla="*/ 62561 h 1004137"/>
              <a:gd name="connsiteX5" fmla="*/ 1456105 w 1619350"/>
              <a:gd name="connsiteY5" fmla="*/ 73062 h 1004137"/>
              <a:gd name="connsiteX6" fmla="*/ 1322358 w 1619350"/>
              <a:gd name="connsiteY6" fmla="*/ 41561 h 1004137"/>
              <a:gd name="connsiteX7" fmla="*/ 644386 w 1619350"/>
              <a:gd name="connsiteY7" fmla="*/ 361802 h 1004137"/>
              <a:gd name="connsiteX8" fmla="*/ 10036 w 1619350"/>
              <a:gd name="connsiteY8" fmla="*/ 420420 h 1004137"/>
              <a:gd name="connsiteX0" fmla="*/ 10036 w 1601763"/>
              <a:gd name="connsiteY0" fmla="*/ 412088 h 995805"/>
              <a:gd name="connsiteX1" fmla="*/ 0 w 1601763"/>
              <a:gd name="connsiteY1" fmla="*/ 995805 h 995805"/>
              <a:gd name="connsiteX2" fmla="*/ 717855 w 1601763"/>
              <a:gd name="connsiteY2" fmla="*/ 930005 h 995805"/>
              <a:gd name="connsiteX3" fmla="*/ 1560539 w 1601763"/>
              <a:gd name="connsiteY3" fmla="*/ 62459 h 995805"/>
              <a:gd name="connsiteX4" fmla="*/ 1456105 w 1601763"/>
              <a:gd name="connsiteY4" fmla="*/ 64730 h 995805"/>
              <a:gd name="connsiteX5" fmla="*/ 1322358 w 1601763"/>
              <a:gd name="connsiteY5" fmla="*/ 33229 h 995805"/>
              <a:gd name="connsiteX6" fmla="*/ 644386 w 1601763"/>
              <a:gd name="connsiteY6" fmla="*/ 353470 h 995805"/>
              <a:gd name="connsiteX7" fmla="*/ 10036 w 1601763"/>
              <a:gd name="connsiteY7" fmla="*/ 412088 h 995805"/>
              <a:gd name="connsiteX0" fmla="*/ 10036 w 1589119"/>
              <a:gd name="connsiteY0" fmla="*/ 439302 h 1023019"/>
              <a:gd name="connsiteX1" fmla="*/ 0 w 1589119"/>
              <a:gd name="connsiteY1" fmla="*/ 1023019 h 1023019"/>
              <a:gd name="connsiteX2" fmla="*/ 717855 w 1589119"/>
              <a:gd name="connsiteY2" fmla="*/ 957219 h 1023019"/>
              <a:gd name="connsiteX3" fmla="*/ 1560539 w 1589119"/>
              <a:gd name="connsiteY3" fmla="*/ 89673 h 1023019"/>
              <a:gd name="connsiteX4" fmla="*/ 1322358 w 1589119"/>
              <a:gd name="connsiteY4" fmla="*/ 60443 h 1023019"/>
              <a:gd name="connsiteX5" fmla="*/ 644386 w 1589119"/>
              <a:gd name="connsiteY5" fmla="*/ 380684 h 1023019"/>
              <a:gd name="connsiteX6" fmla="*/ 10036 w 1589119"/>
              <a:gd name="connsiteY6" fmla="*/ 439302 h 1023019"/>
              <a:gd name="connsiteX0" fmla="*/ 10036 w 1610185"/>
              <a:gd name="connsiteY0" fmla="*/ 419707 h 1003424"/>
              <a:gd name="connsiteX1" fmla="*/ 0 w 1610185"/>
              <a:gd name="connsiteY1" fmla="*/ 1003424 h 1003424"/>
              <a:gd name="connsiteX2" fmla="*/ 717855 w 1610185"/>
              <a:gd name="connsiteY2" fmla="*/ 937624 h 1003424"/>
              <a:gd name="connsiteX3" fmla="*/ 1560539 w 1610185"/>
              <a:gd name="connsiteY3" fmla="*/ 70078 h 1003424"/>
              <a:gd name="connsiteX4" fmla="*/ 1459625 w 1610185"/>
              <a:gd name="connsiteY4" fmla="*/ 68848 h 1003424"/>
              <a:gd name="connsiteX5" fmla="*/ 1322358 w 1610185"/>
              <a:gd name="connsiteY5" fmla="*/ 40848 h 1003424"/>
              <a:gd name="connsiteX6" fmla="*/ 644386 w 1610185"/>
              <a:gd name="connsiteY6" fmla="*/ 361089 h 1003424"/>
              <a:gd name="connsiteX7" fmla="*/ 10036 w 1610185"/>
              <a:gd name="connsiteY7" fmla="*/ 419707 h 1003424"/>
              <a:gd name="connsiteX0" fmla="*/ 10036 w 1610185"/>
              <a:gd name="connsiteY0" fmla="*/ 419707 h 1003424"/>
              <a:gd name="connsiteX1" fmla="*/ 0 w 1610185"/>
              <a:gd name="connsiteY1" fmla="*/ 1003424 h 1003424"/>
              <a:gd name="connsiteX2" fmla="*/ 717855 w 1610185"/>
              <a:gd name="connsiteY2" fmla="*/ 937624 h 1003424"/>
              <a:gd name="connsiteX3" fmla="*/ 1560539 w 1610185"/>
              <a:gd name="connsiteY3" fmla="*/ 70078 h 1003424"/>
              <a:gd name="connsiteX4" fmla="*/ 1459625 w 1610185"/>
              <a:gd name="connsiteY4" fmla="*/ 68848 h 1003424"/>
              <a:gd name="connsiteX5" fmla="*/ 1322358 w 1610185"/>
              <a:gd name="connsiteY5" fmla="*/ 40848 h 1003424"/>
              <a:gd name="connsiteX6" fmla="*/ 644386 w 1610185"/>
              <a:gd name="connsiteY6" fmla="*/ 361089 h 1003424"/>
              <a:gd name="connsiteX7" fmla="*/ 10036 w 1610185"/>
              <a:gd name="connsiteY7" fmla="*/ 419707 h 1003424"/>
              <a:gd name="connsiteX0" fmla="*/ 10036 w 1610185"/>
              <a:gd name="connsiteY0" fmla="*/ 419707 h 1003424"/>
              <a:gd name="connsiteX1" fmla="*/ 0 w 1610185"/>
              <a:gd name="connsiteY1" fmla="*/ 1003424 h 1003424"/>
              <a:gd name="connsiteX2" fmla="*/ 717855 w 1610185"/>
              <a:gd name="connsiteY2" fmla="*/ 937624 h 1003424"/>
              <a:gd name="connsiteX3" fmla="*/ 1560539 w 1610185"/>
              <a:gd name="connsiteY3" fmla="*/ 70078 h 1003424"/>
              <a:gd name="connsiteX4" fmla="*/ 1459625 w 1610185"/>
              <a:gd name="connsiteY4" fmla="*/ 68848 h 1003424"/>
              <a:gd name="connsiteX5" fmla="*/ 1322358 w 1610185"/>
              <a:gd name="connsiteY5" fmla="*/ 40848 h 1003424"/>
              <a:gd name="connsiteX6" fmla="*/ 644386 w 1610185"/>
              <a:gd name="connsiteY6" fmla="*/ 361089 h 1003424"/>
              <a:gd name="connsiteX7" fmla="*/ 10036 w 1610185"/>
              <a:gd name="connsiteY7" fmla="*/ 419707 h 1003424"/>
              <a:gd name="connsiteX0" fmla="*/ 10036 w 1560539"/>
              <a:gd name="connsiteY0" fmla="*/ 378859 h 962576"/>
              <a:gd name="connsiteX1" fmla="*/ 0 w 1560539"/>
              <a:gd name="connsiteY1" fmla="*/ 962576 h 962576"/>
              <a:gd name="connsiteX2" fmla="*/ 717855 w 1560539"/>
              <a:gd name="connsiteY2" fmla="*/ 896776 h 962576"/>
              <a:gd name="connsiteX3" fmla="*/ 1560539 w 1560539"/>
              <a:gd name="connsiteY3" fmla="*/ 29230 h 962576"/>
              <a:gd name="connsiteX4" fmla="*/ 1459625 w 1560539"/>
              <a:gd name="connsiteY4" fmla="*/ 28000 h 962576"/>
              <a:gd name="connsiteX5" fmla="*/ 1322358 w 1560539"/>
              <a:gd name="connsiteY5" fmla="*/ 0 h 962576"/>
              <a:gd name="connsiteX6" fmla="*/ 644386 w 1560539"/>
              <a:gd name="connsiteY6" fmla="*/ 320241 h 962576"/>
              <a:gd name="connsiteX7" fmla="*/ 10036 w 1560539"/>
              <a:gd name="connsiteY7" fmla="*/ 378859 h 962576"/>
              <a:gd name="connsiteX0" fmla="*/ 10036 w 1560539"/>
              <a:gd name="connsiteY0" fmla="*/ 378859 h 962576"/>
              <a:gd name="connsiteX1" fmla="*/ 0 w 1560539"/>
              <a:gd name="connsiteY1" fmla="*/ 962576 h 962576"/>
              <a:gd name="connsiteX2" fmla="*/ 717855 w 1560539"/>
              <a:gd name="connsiteY2" fmla="*/ 896776 h 962576"/>
              <a:gd name="connsiteX3" fmla="*/ 1560539 w 1560539"/>
              <a:gd name="connsiteY3" fmla="*/ 29230 h 962576"/>
              <a:gd name="connsiteX4" fmla="*/ 1470184 w 1560539"/>
              <a:gd name="connsiteY4" fmla="*/ 13999 h 962576"/>
              <a:gd name="connsiteX5" fmla="*/ 1322358 w 1560539"/>
              <a:gd name="connsiteY5" fmla="*/ 0 h 962576"/>
              <a:gd name="connsiteX6" fmla="*/ 644386 w 1560539"/>
              <a:gd name="connsiteY6" fmla="*/ 320241 h 962576"/>
              <a:gd name="connsiteX7" fmla="*/ 10036 w 1560539"/>
              <a:gd name="connsiteY7" fmla="*/ 378859 h 962576"/>
              <a:gd name="connsiteX0" fmla="*/ 10036 w 1567578"/>
              <a:gd name="connsiteY0" fmla="*/ 378859 h 962576"/>
              <a:gd name="connsiteX1" fmla="*/ 0 w 1567578"/>
              <a:gd name="connsiteY1" fmla="*/ 962576 h 962576"/>
              <a:gd name="connsiteX2" fmla="*/ 717855 w 1567578"/>
              <a:gd name="connsiteY2" fmla="*/ 896776 h 962576"/>
              <a:gd name="connsiteX3" fmla="*/ 1567578 w 1567578"/>
              <a:gd name="connsiteY3" fmla="*/ 8229 h 962576"/>
              <a:gd name="connsiteX4" fmla="*/ 1470184 w 1567578"/>
              <a:gd name="connsiteY4" fmla="*/ 13999 h 962576"/>
              <a:gd name="connsiteX5" fmla="*/ 1322358 w 1567578"/>
              <a:gd name="connsiteY5" fmla="*/ 0 h 962576"/>
              <a:gd name="connsiteX6" fmla="*/ 644386 w 1567578"/>
              <a:gd name="connsiteY6" fmla="*/ 320241 h 962576"/>
              <a:gd name="connsiteX7" fmla="*/ 10036 w 1567578"/>
              <a:gd name="connsiteY7" fmla="*/ 378859 h 96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7578" h="962576">
                <a:moveTo>
                  <a:pt x="10036" y="378859"/>
                </a:moveTo>
                <a:cubicBezTo>
                  <a:pt x="10036" y="560124"/>
                  <a:pt x="0" y="781311"/>
                  <a:pt x="0" y="962576"/>
                </a:cubicBezTo>
                <a:cubicBezTo>
                  <a:pt x="209176" y="950623"/>
                  <a:pt x="445449" y="967853"/>
                  <a:pt x="717855" y="896776"/>
                </a:cubicBezTo>
                <a:cubicBezTo>
                  <a:pt x="1032796" y="615532"/>
                  <a:pt x="1286684" y="304064"/>
                  <a:pt x="1567578" y="8229"/>
                </a:cubicBezTo>
                <a:cubicBezTo>
                  <a:pt x="1535113" y="10152"/>
                  <a:pt x="1511054" y="15371"/>
                  <a:pt x="1470184" y="13999"/>
                </a:cubicBezTo>
                <a:cubicBezTo>
                  <a:pt x="1429314" y="12628"/>
                  <a:pt x="1371633" y="4666"/>
                  <a:pt x="1322358" y="0"/>
                </a:cubicBezTo>
                <a:cubicBezTo>
                  <a:pt x="1181792" y="61540"/>
                  <a:pt x="855480" y="262931"/>
                  <a:pt x="644386" y="320241"/>
                </a:cubicBezTo>
                <a:cubicBezTo>
                  <a:pt x="382470" y="342939"/>
                  <a:pt x="228177" y="365889"/>
                  <a:pt x="10036" y="378859"/>
                </a:cubicBezTo>
                <a:close/>
              </a:path>
            </a:pathLst>
          </a:custGeom>
          <a:pattFill prst="pct70">
            <a:fgClr>
              <a:srgbClr val="FC9EC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51" name="자유형 250"/>
          <p:cNvSpPr/>
          <p:nvPr>
            <p:custDataLst>
              <p:tags r:id="rId3"/>
            </p:custDataLst>
          </p:nvPr>
        </p:nvSpPr>
        <p:spPr>
          <a:xfrm>
            <a:off x="5346408" y="1464319"/>
            <a:ext cx="1741758" cy="366386"/>
          </a:xfrm>
          <a:custGeom>
            <a:avLst/>
            <a:gdLst>
              <a:gd name="connsiteX0" fmla="*/ 0 w 1744250"/>
              <a:gd name="connsiteY0" fmla="*/ 325676 h 366386"/>
              <a:gd name="connsiteX1" fmla="*/ 482252 w 1744250"/>
              <a:gd name="connsiteY1" fmla="*/ 37578 h 366386"/>
              <a:gd name="connsiteX2" fmla="*/ 1121080 w 1744250"/>
              <a:gd name="connsiteY2" fmla="*/ 0 h 366386"/>
              <a:gd name="connsiteX3" fmla="*/ 1252603 w 1744250"/>
              <a:gd name="connsiteY3" fmla="*/ 28183 h 366386"/>
              <a:gd name="connsiteX4" fmla="*/ 1744250 w 1744250"/>
              <a:gd name="connsiteY4" fmla="*/ 366386 h 366386"/>
              <a:gd name="connsiteX5" fmla="*/ 1149263 w 1744250"/>
              <a:gd name="connsiteY5" fmla="*/ 197285 h 366386"/>
              <a:gd name="connsiteX6" fmla="*/ 522962 w 1744250"/>
              <a:gd name="connsiteY6" fmla="*/ 228600 h 366386"/>
              <a:gd name="connsiteX7" fmla="*/ 0 w 1744250"/>
              <a:gd name="connsiteY7" fmla="*/ 32567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1758" h="366386">
                <a:moveTo>
                  <a:pt x="0" y="343116"/>
                </a:moveTo>
                <a:cubicBezTo>
                  <a:pt x="199785" y="241270"/>
                  <a:pt x="327315" y="154373"/>
                  <a:pt x="479760" y="37578"/>
                </a:cubicBezTo>
                <a:cubicBezTo>
                  <a:pt x="707652" y="137"/>
                  <a:pt x="908137" y="69"/>
                  <a:pt x="1118588" y="0"/>
                </a:cubicBezTo>
                <a:lnTo>
                  <a:pt x="1250111" y="28183"/>
                </a:lnTo>
                <a:lnTo>
                  <a:pt x="1741758" y="366386"/>
                </a:lnTo>
                <a:lnTo>
                  <a:pt x="1146771" y="197285"/>
                </a:lnTo>
                <a:lnTo>
                  <a:pt x="520470" y="228600"/>
                </a:lnTo>
                <a:lnTo>
                  <a:pt x="0" y="343116"/>
                </a:lnTo>
                <a:close/>
              </a:path>
            </a:pathLst>
          </a:custGeom>
          <a:pattFill prst="pct25">
            <a:fgClr>
              <a:schemeClr val="accent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a:solidFill>
                <a:prstClr val="white"/>
              </a:solidFill>
              <a:latin typeface="Arial" panose="020B0604020202020204" pitchFamily="34" charset="0"/>
              <a:cs typeface="Arial" panose="020B0604020202020204" pitchFamily="34" charset="0"/>
            </a:endParaRPr>
          </a:p>
        </p:txBody>
      </p:sp>
      <p:sp>
        <p:nvSpPr>
          <p:cNvPr id="252" name="자유형 251"/>
          <p:cNvSpPr/>
          <p:nvPr>
            <p:custDataLst>
              <p:tags r:id="rId4"/>
            </p:custDataLst>
          </p:nvPr>
        </p:nvSpPr>
        <p:spPr>
          <a:xfrm>
            <a:off x="8162925" y="2678280"/>
            <a:ext cx="1022932" cy="719431"/>
          </a:xfrm>
          <a:custGeom>
            <a:avLst/>
            <a:gdLst>
              <a:gd name="connsiteX0" fmla="*/ 1486263 w 1486263"/>
              <a:gd name="connsiteY0" fmla="*/ 1120503 h 1120503"/>
              <a:gd name="connsiteX1" fmla="*/ 1486263 w 1486263"/>
              <a:gd name="connsiteY1" fmla="*/ 624114 h 1120503"/>
              <a:gd name="connsiteX2" fmla="*/ 981166 w 1486263"/>
              <a:gd name="connsiteY2" fmla="*/ 516708 h 1120503"/>
              <a:gd name="connsiteX3" fmla="*/ 0 w 1486263"/>
              <a:gd name="connsiteY3" fmla="*/ 0 h 1120503"/>
              <a:gd name="connsiteX4" fmla="*/ 780869 w 1486263"/>
              <a:gd name="connsiteY4" fmla="*/ 685074 h 1120503"/>
              <a:gd name="connsiteX5" fmla="*/ 1486263 w 1486263"/>
              <a:gd name="connsiteY5" fmla="*/ 1120503 h 1120503"/>
              <a:gd name="connsiteX0" fmla="*/ 1486263 w 1486263"/>
              <a:gd name="connsiteY0" fmla="*/ 1120503 h 1120503"/>
              <a:gd name="connsiteX1" fmla="*/ 1486263 w 1486263"/>
              <a:gd name="connsiteY1" fmla="*/ 624114 h 1120503"/>
              <a:gd name="connsiteX2" fmla="*/ 972457 w 1486263"/>
              <a:gd name="connsiteY2" fmla="*/ 531222 h 1120503"/>
              <a:gd name="connsiteX3" fmla="*/ 0 w 1486263"/>
              <a:gd name="connsiteY3" fmla="*/ 0 h 1120503"/>
              <a:gd name="connsiteX4" fmla="*/ 780869 w 1486263"/>
              <a:gd name="connsiteY4" fmla="*/ 685074 h 1120503"/>
              <a:gd name="connsiteX5" fmla="*/ 1486263 w 1486263"/>
              <a:gd name="connsiteY5" fmla="*/ 1120503 h 1120503"/>
              <a:gd name="connsiteX0" fmla="*/ 1486263 w 1486263"/>
              <a:gd name="connsiteY0" fmla="*/ 1120503 h 1120503"/>
              <a:gd name="connsiteX1" fmla="*/ 1486263 w 1486263"/>
              <a:gd name="connsiteY1" fmla="*/ 624114 h 1120503"/>
              <a:gd name="connsiteX2" fmla="*/ 972457 w 1486263"/>
              <a:gd name="connsiteY2" fmla="*/ 531222 h 1120503"/>
              <a:gd name="connsiteX3" fmla="*/ 0 w 1486263"/>
              <a:gd name="connsiteY3" fmla="*/ 0 h 1120503"/>
              <a:gd name="connsiteX4" fmla="*/ 780869 w 1486263"/>
              <a:gd name="connsiteY4" fmla="*/ 685074 h 1120503"/>
              <a:gd name="connsiteX5" fmla="*/ 1486263 w 1486263"/>
              <a:gd name="connsiteY5" fmla="*/ 1120503 h 1120503"/>
              <a:gd name="connsiteX0" fmla="*/ 1486263 w 1486263"/>
              <a:gd name="connsiteY0" fmla="*/ 1120503 h 1120503"/>
              <a:gd name="connsiteX1" fmla="*/ 1486263 w 1486263"/>
              <a:gd name="connsiteY1" fmla="*/ 624114 h 1120503"/>
              <a:gd name="connsiteX2" fmla="*/ 972457 w 1486263"/>
              <a:gd name="connsiteY2" fmla="*/ 531222 h 1120503"/>
              <a:gd name="connsiteX3" fmla="*/ 0 w 1486263"/>
              <a:gd name="connsiteY3" fmla="*/ 0 h 1120503"/>
              <a:gd name="connsiteX4" fmla="*/ 780869 w 1486263"/>
              <a:gd name="connsiteY4" fmla="*/ 685074 h 1120503"/>
              <a:gd name="connsiteX5" fmla="*/ 1486263 w 1486263"/>
              <a:gd name="connsiteY5" fmla="*/ 1120503 h 1120503"/>
              <a:gd name="connsiteX0" fmla="*/ 1486263 w 1486263"/>
              <a:gd name="connsiteY0" fmla="*/ 1120503 h 1120503"/>
              <a:gd name="connsiteX1" fmla="*/ 1486263 w 1486263"/>
              <a:gd name="connsiteY1" fmla="*/ 624114 h 1120503"/>
              <a:gd name="connsiteX2" fmla="*/ 972457 w 1486263"/>
              <a:gd name="connsiteY2" fmla="*/ 531222 h 1120503"/>
              <a:gd name="connsiteX3" fmla="*/ 0 w 1486263"/>
              <a:gd name="connsiteY3" fmla="*/ 0 h 1120503"/>
              <a:gd name="connsiteX4" fmla="*/ 780869 w 1486263"/>
              <a:gd name="connsiteY4" fmla="*/ 685074 h 1120503"/>
              <a:gd name="connsiteX5" fmla="*/ 1486263 w 1486263"/>
              <a:gd name="connsiteY5" fmla="*/ 1120503 h 1120503"/>
              <a:gd name="connsiteX0" fmla="*/ 1486263 w 1486263"/>
              <a:gd name="connsiteY0" fmla="*/ 1120503 h 1120503"/>
              <a:gd name="connsiteX1" fmla="*/ 1486263 w 1486263"/>
              <a:gd name="connsiteY1" fmla="*/ 624114 h 1120503"/>
              <a:gd name="connsiteX2" fmla="*/ 972457 w 1486263"/>
              <a:gd name="connsiteY2" fmla="*/ 531222 h 1120503"/>
              <a:gd name="connsiteX3" fmla="*/ 0 w 1486263"/>
              <a:gd name="connsiteY3" fmla="*/ 0 h 1120503"/>
              <a:gd name="connsiteX4" fmla="*/ 780869 w 1486263"/>
              <a:gd name="connsiteY4" fmla="*/ 685074 h 1120503"/>
              <a:gd name="connsiteX5" fmla="*/ 1486263 w 1486263"/>
              <a:gd name="connsiteY5" fmla="*/ 1120503 h 1120503"/>
              <a:gd name="connsiteX0" fmla="*/ 1489166 w 1489166"/>
              <a:gd name="connsiteY0" fmla="*/ 1114698 h 1114698"/>
              <a:gd name="connsiteX1" fmla="*/ 1486263 w 1489166"/>
              <a:gd name="connsiteY1" fmla="*/ 624114 h 1114698"/>
              <a:gd name="connsiteX2" fmla="*/ 972457 w 1489166"/>
              <a:gd name="connsiteY2" fmla="*/ 531222 h 1114698"/>
              <a:gd name="connsiteX3" fmla="*/ 0 w 1489166"/>
              <a:gd name="connsiteY3" fmla="*/ 0 h 1114698"/>
              <a:gd name="connsiteX4" fmla="*/ 780869 w 1489166"/>
              <a:gd name="connsiteY4" fmla="*/ 685074 h 1114698"/>
              <a:gd name="connsiteX5" fmla="*/ 1489166 w 1489166"/>
              <a:gd name="connsiteY5" fmla="*/ 1114698 h 1114698"/>
              <a:gd name="connsiteX0" fmla="*/ 1489166 w 1489166"/>
              <a:gd name="connsiteY0" fmla="*/ 1114698 h 1114698"/>
              <a:gd name="connsiteX1" fmla="*/ 1486263 w 1489166"/>
              <a:gd name="connsiteY1" fmla="*/ 624114 h 1114698"/>
              <a:gd name="connsiteX2" fmla="*/ 972457 w 1489166"/>
              <a:gd name="connsiteY2" fmla="*/ 531222 h 1114698"/>
              <a:gd name="connsiteX3" fmla="*/ 0 w 1489166"/>
              <a:gd name="connsiteY3" fmla="*/ 0 h 1114698"/>
              <a:gd name="connsiteX4" fmla="*/ 780869 w 1489166"/>
              <a:gd name="connsiteY4" fmla="*/ 685074 h 1114698"/>
              <a:gd name="connsiteX5" fmla="*/ 1489166 w 1489166"/>
              <a:gd name="connsiteY5" fmla="*/ 1114698 h 1114698"/>
              <a:gd name="connsiteX0" fmla="*/ 1489166 w 1489166"/>
              <a:gd name="connsiteY0" fmla="*/ 1114698 h 1114698"/>
              <a:gd name="connsiteX1" fmla="*/ 1483360 w 1489166"/>
              <a:gd name="connsiteY1" fmla="*/ 612503 h 1114698"/>
              <a:gd name="connsiteX2" fmla="*/ 972457 w 1489166"/>
              <a:gd name="connsiteY2" fmla="*/ 531222 h 1114698"/>
              <a:gd name="connsiteX3" fmla="*/ 0 w 1489166"/>
              <a:gd name="connsiteY3" fmla="*/ 0 h 1114698"/>
              <a:gd name="connsiteX4" fmla="*/ 780869 w 1489166"/>
              <a:gd name="connsiteY4" fmla="*/ 685074 h 1114698"/>
              <a:gd name="connsiteX5" fmla="*/ 1489166 w 1489166"/>
              <a:gd name="connsiteY5" fmla="*/ 1114698 h 1114698"/>
              <a:gd name="connsiteX0" fmla="*/ 1489166 w 1492196"/>
              <a:gd name="connsiteY0" fmla="*/ 1114698 h 1114698"/>
              <a:gd name="connsiteX1" fmla="*/ 1492068 w 1492196"/>
              <a:gd name="connsiteY1" fmla="*/ 612503 h 1114698"/>
              <a:gd name="connsiteX2" fmla="*/ 972457 w 1492196"/>
              <a:gd name="connsiteY2" fmla="*/ 531222 h 1114698"/>
              <a:gd name="connsiteX3" fmla="*/ 0 w 1492196"/>
              <a:gd name="connsiteY3" fmla="*/ 0 h 1114698"/>
              <a:gd name="connsiteX4" fmla="*/ 780869 w 1492196"/>
              <a:gd name="connsiteY4" fmla="*/ 685074 h 1114698"/>
              <a:gd name="connsiteX5" fmla="*/ 1489166 w 1492196"/>
              <a:gd name="connsiteY5" fmla="*/ 1114698 h 1114698"/>
              <a:gd name="connsiteX0" fmla="*/ 1489166 w 1492196"/>
              <a:gd name="connsiteY0" fmla="*/ 1114698 h 1114698"/>
              <a:gd name="connsiteX1" fmla="*/ 1492068 w 1492196"/>
              <a:gd name="connsiteY1" fmla="*/ 612503 h 1114698"/>
              <a:gd name="connsiteX2" fmla="*/ 1035911 w 1492196"/>
              <a:gd name="connsiteY2" fmla="*/ 385308 h 1114698"/>
              <a:gd name="connsiteX3" fmla="*/ 0 w 1492196"/>
              <a:gd name="connsiteY3" fmla="*/ 0 h 1114698"/>
              <a:gd name="connsiteX4" fmla="*/ 780869 w 1492196"/>
              <a:gd name="connsiteY4" fmla="*/ 685074 h 1114698"/>
              <a:gd name="connsiteX5" fmla="*/ 1489166 w 1492196"/>
              <a:gd name="connsiteY5" fmla="*/ 1114698 h 1114698"/>
              <a:gd name="connsiteX0" fmla="*/ 1489166 w 1492196"/>
              <a:gd name="connsiteY0" fmla="*/ 1114698 h 1114698"/>
              <a:gd name="connsiteX1" fmla="*/ 1492068 w 1492196"/>
              <a:gd name="connsiteY1" fmla="*/ 440061 h 1114698"/>
              <a:gd name="connsiteX2" fmla="*/ 1035911 w 1492196"/>
              <a:gd name="connsiteY2" fmla="*/ 385308 h 1114698"/>
              <a:gd name="connsiteX3" fmla="*/ 0 w 1492196"/>
              <a:gd name="connsiteY3" fmla="*/ 0 h 1114698"/>
              <a:gd name="connsiteX4" fmla="*/ 780869 w 1492196"/>
              <a:gd name="connsiteY4" fmla="*/ 685074 h 1114698"/>
              <a:gd name="connsiteX5" fmla="*/ 1489166 w 1492196"/>
              <a:gd name="connsiteY5" fmla="*/ 1114698 h 1114698"/>
              <a:gd name="connsiteX0" fmla="*/ 1493259 w 1496289"/>
              <a:gd name="connsiteY0" fmla="*/ 1130158 h 1130158"/>
              <a:gd name="connsiteX1" fmla="*/ 1496161 w 1496289"/>
              <a:gd name="connsiteY1" fmla="*/ 455521 h 1130158"/>
              <a:gd name="connsiteX2" fmla="*/ 1040004 w 1496289"/>
              <a:gd name="connsiteY2" fmla="*/ 400768 h 1130158"/>
              <a:gd name="connsiteX3" fmla="*/ 511179 w 1496289"/>
              <a:gd name="connsiteY3" fmla="*/ 210983 h 1130158"/>
              <a:gd name="connsiteX4" fmla="*/ 4093 w 1496289"/>
              <a:gd name="connsiteY4" fmla="*/ 15460 h 1130158"/>
              <a:gd name="connsiteX5" fmla="*/ 784962 w 1496289"/>
              <a:gd name="connsiteY5" fmla="*/ 700534 h 1130158"/>
              <a:gd name="connsiteX6" fmla="*/ 1493259 w 1496289"/>
              <a:gd name="connsiteY6" fmla="*/ 1130158 h 1130158"/>
              <a:gd name="connsiteX0" fmla="*/ 1430528 w 1433558"/>
              <a:gd name="connsiteY0" fmla="*/ 1034332 h 1034332"/>
              <a:gd name="connsiteX1" fmla="*/ 1433430 w 1433558"/>
              <a:gd name="connsiteY1" fmla="*/ 359695 h 1034332"/>
              <a:gd name="connsiteX2" fmla="*/ 977273 w 1433558"/>
              <a:gd name="connsiteY2" fmla="*/ 304942 h 1034332"/>
              <a:gd name="connsiteX3" fmla="*/ 448448 w 1433558"/>
              <a:gd name="connsiteY3" fmla="*/ 115157 h 1034332"/>
              <a:gd name="connsiteX4" fmla="*/ 4818 w 1433558"/>
              <a:gd name="connsiteY4" fmla="*/ 25753 h 1034332"/>
              <a:gd name="connsiteX5" fmla="*/ 722231 w 1433558"/>
              <a:gd name="connsiteY5" fmla="*/ 604708 h 1034332"/>
              <a:gd name="connsiteX6" fmla="*/ 1430528 w 1433558"/>
              <a:gd name="connsiteY6" fmla="*/ 1034332 h 1034332"/>
              <a:gd name="connsiteX0" fmla="*/ 1430528 w 1433558"/>
              <a:gd name="connsiteY0" fmla="*/ 1034332 h 1034332"/>
              <a:gd name="connsiteX1" fmla="*/ 1433430 w 1433558"/>
              <a:gd name="connsiteY1" fmla="*/ 359695 h 1034332"/>
              <a:gd name="connsiteX2" fmla="*/ 989964 w 1433558"/>
              <a:gd name="connsiteY2" fmla="*/ 278414 h 1034332"/>
              <a:gd name="connsiteX3" fmla="*/ 448448 w 1433558"/>
              <a:gd name="connsiteY3" fmla="*/ 115157 h 1034332"/>
              <a:gd name="connsiteX4" fmla="*/ 4818 w 1433558"/>
              <a:gd name="connsiteY4" fmla="*/ 25753 h 1034332"/>
              <a:gd name="connsiteX5" fmla="*/ 722231 w 1433558"/>
              <a:gd name="connsiteY5" fmla="*/ 604708 h 1034332"/>
              <a:gd name="connsiteX6" fmla="*/ 1430528 w 1433558"/>
              <a:gd name="connsiteY6" fmla="*/ 1034332 h 1034332"/>
              <a:gd name="connsiteX0" fmla="*/ 1428971 w 1432001"/>
              <a:gd name="connsiteY0" fmla="*/ 1046166 h 1046166"/>
              <a:gd name="connsiteX1" fmla="*/ 1431873 w 1432001"/>
              <a:gd name="connsiteY1" fmla="*/ 371529 h 1046166"/>
              <a:gd name="connsiteX2" fmla="*/ 988407 w 1432001"/>
              <a:gd name="connsiteY2" fmla="*/ 290248 h 1046166"/>
              <a:gd name="connsiteX3" fmla="*/ 617796 w 1432001"/>
              <a:gd name="connsiteY3" fmla="*/ 73402 h 1046166"/>
              <a:gd name="connsiteX4" fmla="*/ 3261 w 1432001"/>
              <a:gd name="connsiteY4" fmla="*/ 37587 h 1046166"/>
              <a:gd name="connsiteX5" fmla="*/ 720674 w 1432001"/>
              <a:gd name="connsiteY5" fmla="*/ 616542 h 1046166"/>
              <a:gd name="connsiteX6" fmla="*/ 1428971 w 1432001"/>
              <a:gd name="connsiteY6" fmla="*/ 1046166 h 1046166"/>
              <a:gd name="connsiteX0" fmla="*/ 1429612 w 1432642"/>
              <a:gd name="connsiteY0" fmla="*/ 1066667 h 1066667"/>
              <a:gd name="connsiteX1" fmla="*/ 1432514 w 1432642"/>
              <a:gd name="connsiteY1" fmla="*/ 392030 h 1066667"/>
              <a:gd name="connsiteX2" fmla="*/ 989048 w 1432642"/>
              <a:gd name="connsiteY2" fmla="*/ 310749 h 1066667"/>
              <a:gd name="connsiteX3" fmla="*/ 531649 w 1432642"/>
              <a:gd name="connsiteY3" fmla="*/ 45059 h 1066667"/>
              <a:gd name="connsiteX4" fmla="*/ 3902 w 1432642"/>
              <a:gd name="connsiteY4" fmla="*/ 58088 h 1066667"/>
              <a:gd name="connsiteX5" fmla="*/ 721315 w 1432642"/>
              <a:gd name="connsiteY5" fmla="*/ 637043 h 1066667"/>
              <a:gd name="connsiteX6" fmla="*/ 1429612 w 1432642"/>
              <a:gd name="connsiteY6" fmla="*/ 1066667 h 1066667"/>
              <a:gd name="connsiteX0" fmla="*/ 1429198 w 1432228"/>
              <a:gd name="connsiteY0" fmla="*/ 1083938 h 1083938"/>
              <a:gd name="connsiteX1" fmla="*/ 1432100 w 1432228"/>
              <a:gd name="connsiteY1" fmla="*/ 409301 h 1083938"/>
              <a:gd name="connsiteX2" fmla="*/ 988634 w 1432228"/>
              <a:gd name="connsiteY2" fmla="*/ 328020 h 1083938"/>
              <a:gd name="connsiteX3" fmla="*/ 531235 w 1432228"/>
              <a:gd name="connsiteY3" fmla="*/ 62330 h 1083938"/>
              <a:gd name="connsiteX4" fmla="*/ 3488 w 1432228"/>
              <a:gd name="connsiteY4" fmla="*/ 75359 h 1083938"/>
              <a:gd name="connsiteX5" fmla="*/ 720901 w 1432228"/>
              <a:gd name="connsiteY5" fmla="*/ 654314 h 1083938"/>
              <a:gd name="connsiteX6" fmla="*/ 1429198 w 1432228"/>
              <a:gd name="connsiteY6" fmla="*/ 1083938 h 1083938"/>
              <a:gd name="connsiteX0" fmla="*/ 1431010 w 1434040"/>
              <a:gd name="connsiteY0" fmla="*/ 1051312 h 1051312"/>
              <a:gd name="connsiteX1" fmla="*/ 1433912 w 1434040"/>
              <a:gd name="connsiteY1" fmla="*/ 376675 h 1051312"/>
              <a:gd name="connsiteX2" fmla="*/ 990446 w 1434040"/>
              <a:gd name="connsiteY2" fmla="*/ 295394 h 1051312"/>
              <a:gd name="connsiteX3" fmla="*/ 533047 w 1434040"/>
              <a:gd name="connsiteY3" fmla="*/ 29704 h 1051312"/>
              <a:gd name="connsiteX4" fmla="*/ 5300 w 1434040"/>
              <a:gd name="connsiteY4" fmla="*/ 42733 h 1051312"/>
              <a:gd name="connsiteX5" fmla="*/ 722713 w 1434040"/>
              <a:gd name="connsiteY5" fmla="*/ 621688 h 1051312"/>
              <a:gd name="connsiteX6" fmla="*/ 1431010 w 1434040"/>
              <a:gd name="connsiteY6" fmla="*/ 1051312 h 1051312"/>
              <a:gd name="connsiteX0" fmla="*/ 1429556 w 1432586"/>
              <a:gd name="connsiteY0" fmla="*/ 1080995 h 1080995"/>
              <a:gd name="connsiteX1" fmla="*/ 1432458 w 1432586"/>
              <a:gd name="connsiteY1" fmla="*/ 406358 h 1080995"/>
              <a:gd name="connsiteX2" fmla="*/ 988992 w 1432586"/>
              <a:gd name="connsiteY2" fmla="*/ 325077 h 1080995"/>
              <a:gd name="connsiteX3" fmla="*/ 531593 w 1432586"/>
              <a:gd name="connsiteY3" fmla="*/ 59387 h 1080995"/>
              <a:gd name="connsiteX4" fmla="*/ 3846 w 1432586"/>
              <a:gd name="connsiteY4" fmla="*/ 72416 h 1080995"/>
              <a:gd name="connsiteX5" fmla="*/ 721259 w 1432586"/>
              <a:gd name="connsiteY5" fmla="*/ 651371 h 1080995"/>
              <a:gd name="connsiteX6" fmla="*/ 1429556 w 1432586"/>
              <a:gd name="connsiteY6" fmla="*/ 1080995 h 1080995"/>
              <a:gd name="connsiteX0" fmla="*/ 1429556 w 1432586"/>
              <a:gd name="connsiteY0" fmla="*/ 1080995 h 1080995"/>
              <a:gd name="connsiteX1" fmla="*/ 1432458 w 1432586"/>
              <a:gd name="connsiteY1" fmla="*/ 406358 h 1080995"/>
              <a:gd name="connsiteX2" fmla="*/ 988992 w 1432586"/>
              <a:gd name="connsiteY2" fmla="*/ 325077 h 1080995"/>
              <a:gd name="connsiteX3" fmla="*/ 531593 w 1432586"/>
              <a:gd name="connsiteY3" fmla="*/ 59387 h 1080995"/>
              <a:gd name="connsiteX4" fmla="*/ 3846 w 1432586"/>
              <a:gd name="connsiteY4" fmla="*/ 72416 h 1080995"/>
              <a:gd name="connsiteX5" fmla="*/ 721259 w 1432586"/>
              <a:gd name="connsiteY5" fmla="*/ 651371 h 1080995"/>
              <a:gd name="connsiteX6" fmla="*/ 1429556 w 1432586"/>
              <a:gd name="connsiteY6" fmla="*/ 1080995 h 1080995"/>
              <a:gd name="connsiteX0" fmla="*/ 1425710 w 1428740"/>
              <a:gd name="connsiteY0" fmla="*/ 1021607 h 1021607"/>
              <a:gd name="connsiteX1" fmla="*/ 1428612 w 1428740"/>
              <a:gd name="connsiteY1" fmla="*/ 346970 h 1021607"/>
              <a:gd name="connsiteX2" fmla="*/ 985146 w 1428740"/>
              <a:gd name="connsiteY2" fmla="*/ 265689 h 1021607"/>
              <a:gd name="connsiteX3" fmla="*/ 527747 w 1428740"/>
              <a:gd name="connsiteY3" fmla="*/ -1 h 1021607"/>
              <a:gd name="connsiteX4" fmla="*/ 0 w 1428740"/>
              <a:gd name="connsiteY4" fmla="*/ 13028 h 1021607"/>
              <a:gd name="connsiteX5" fmla="*/ 717413 w 1428740"/>
              <a:gd name="connsiteY5" fmla="*/ 591983 h 1021607"/>
              <a:gd name="connsiteX6" fmla="*/ 1425710 w 1428740"/>
              <a:gd name="connsiteY6" fmla="*/ 1021607 h 1021607"/>
              <a:gd name="connsiteX0" fmla="*/ 1430890 w 1433920"/>
              <a:gd name="connsiteY0" fmla="*/ 1054085 h 1054085"/>
              <a:gd name="connsiteX1" fmla="*/ 1433792 w 1433920"/>
              <a:gd name="connsiteY1" fmla="*/ 379448 h 1054085"/>
              <a:gd name="connsiteX2" fmla="*/ 990326 w 1433920"/>
              <a:gd name="connsiteY2" fmla="*/ 298167 h 1054085"/>
              <a:gd name="connsiteX3" fmla="*/ 532927 w 1433920"/>
              <a:gd name="connsiteY3" fmla="*/ 32477 h 1054085"/>
              <a:gd name="connsiteX4" fmla="*/ 0 w 1433920"/>
              <a:gd name="connsiteY4" fmla="*/ 4405 h 1054085"/>
              <a:gd name="connsiteX5" fmla="*/ 5180 w 1433920"/>
              <a:gd name="connsiteY5" fmla="*/ 45506 h 1054085"/>
              <a:gd name="connsiteX6" fmla="*/ 722593 w 1433920"/>
              <a:gd name="connsiteY6" fmla="*/ 624461 h 1054085"/>
              <a:gd name="connsiteX7" fmla="*/ 1430890 w 1433920"/>
              <a:gd name="connsiteY7" fmla="*/ 1054085 h 105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920" h="1054085">
                <a:moveTo>
                  <a:pt x="1430890" y="1054085"/>
                </a:moveTo>
                <a:cubicBezTo>
                  <a:pt x="1429922" y="890557"/>
                  <a:pt x="1434760" y="542976"/>
                  <a:pt x="1433792" y="379448"/>
                </a:cubicBezTo>
                <a:cubicBezTo>
                  <a:pt x="1262523" y="377512"/>
                  <a:pt x="1140470" y="355996"/>
                  <a:pt x="990326" y="298167"/>
                </a:cubicBezTo>
                <a:cubicBezTo>
                  <a:pt x="840182" y="240338"/>
                  <a:pt x="697981" y="81437"/>
                  <a:pt x="532927" y="32477"/>
                </a:cubicBezTo>
                <a:cubicBezTo>
                  <a:pt x="367873" y="-16483"/>
                  <a:pt x="168741" y="4458"/>
                  <a:pt x="0" y="4405"/>
                </a:cubicBezTo>
                <a:lnTo>
                  <a:pt x="5180" y="45506"/>
                </a:lnTo>
                <a:lnTo>
                  <a:pt x="722593" y="624461"/>
                </a:lnTo>
                <a:cubicBezTo>
                  <a:pt x="946113" y="792827"/>
                  <a:pt x="1192856" y="937971"/>
                  <a:pt x="1430890" y="1054085"/>
                </a:cubicBezTo>
                <a:close/>
              </a:path>
            </a:pathLst>
          </a:custGeom>
          <a:pattFill prst="pct70">
            <a:fgClr>
              <a:srgbClr val="FC9EC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253" name="자유형 252"/>
          <p:cNvSpPr/>
          <p:nvPr>
            <p:custDataLst>
              <p:tags r:id="rId5"/>
            </p:custDataLst>
          </p:nvPr>
        </p:nvSpPr>
        <p:spPr>
          <a:xfrm>
            <a:off x="1813627" y="1464255"/>
            <a:ext cx="7379937" cy="2090441"/>
          </a:xfrm>
          <a:custGeom>
            <a:avLst/>
            <a:gdLst>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79653 h 2079653"/>
              <a:gd name="connsiteX1" fmla="*/ 655455 w 7379937"/>
              <a:gd name="connsiteY1" fmla="*/ 2023009 h 2079653"/>
              <a:gd name="connsiteX2" fmla="*/ 1497027 w 7379937"/>
              <a:gd name="connsiteY2" fmla="*/ 1132885 h 2079653"/>
              <a:gd name="connsiteX3" fmla="*/ 3414839 w 7379937"/>
              <a:gd name="connsiteY3" fmla="*/ 372234 h 2079653"/>
              <a:gd name="connsiteX4" fmla="*/ 3997466 w 7379937"/>
              <a:gd name="connsiteY4" fmla="*/ 32369 h 2079653"/>
              <a:gd name="connsiteX5" fmla="*/ 4685289 w 7379937"/>
              <a:gd name="connsiteY5" fmla="*/ 0 h 2079653"/>
              <a:gd name="connsiteX6" fmla="*/ 4822854 w 7379937"/>
              <a:gd name="connsiteY6" fmla="*/ 40461 h 2079653"/>
              <a:gd name="connsiteX7" fmla="*/ 6675930 w 7379937"/>
              <a:gd name="connsiteY7" fmla="*/ 1505119 h 2079653"/>
              <a:gd name="connsiteX8" fmla="*/ 7379937 w 7379937"/>
              <a:gd name="connsiteY8" fmla="*/ 1925905 h 2079653"/>
              <a:gd name="connsiteX9" fmla="*/ 7379937 w 7379937"/>
              <a:gd name="connsiteY9" fmla="*/ 1925905 h 2079653"/>
              <a:gd name="connsiteX0" fmla="*/ 0 w 7379937"/>
              <a:gd name="connsiteY0" fmla="*/ 2090441 h 2090441"/>
              <a:gd name="connsiteX1" fmla="*/ 655455 w 7379937"/>
              <a:gd name="connsiteY1" fmla="*/ 2033797 h 2090441"/>
              <a:gd name="connsiteX2" fmla="*/ 1497027 w 7379937"/>
              <a:gd name="connsiteY2" fmla="*/ 1143673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97027 w 7379937"/>
              <a:gd name="connsiteY2" fmla="*/ 1143673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97027 w 7379937"/>
              <a:gd name="connsiteY2" fmla="*/ 1143673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97027 w 7379937"/>
              <a:gd name="connsiteY2" fmla="*/ 1143673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97027 w 7379937"/>
              <a:gd name="connsiteY2" fmla="*/ 1143673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506552 w 7379937"/>
              <a:gd name="connsiteY2" fmla="*/ 1157960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92264 w 7379937"/>
              <a:gd name="connsiteY2" fmla="*/ 1157960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506551 w 7379937"/>
              <a:gd name="connsiteY2" fmla="*/ 1172247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49401 w 7379937"/>
              <a:gd name="connsiteY2" fmla="*/ 1200822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 name="connsiteX0" fmla="*/ 0 w 7379937"/>
              <a:gd name="connsiteY0" fmla="*/ 2090441 h 2090441"/>
              <a:gd name="connsiteX1" fmla="*/ 655455 w 7379937"/>
              <a:gd name="connsiteY1" fmla="*/ 2033797 h 2090441"/>
              <a:gd name="connsiteX2" fmla="*/ 1449401 w 7379937"/>
              <a:gd name="connsiteY2" fmla="*/ 1200822 h 2090441"/>
              <a:gd name="connsiteX3" fmla="*/ 3414839 w 7379937"/>
              <a:gd name="connsiteY3" fmla="*/ 383022 h 2090441"/>
              <a:gd name="connsiteX4" fmla="*/ 3997466 w 7379937"/>
              <a:gd name="connsiteY4" fmla="*/ 43157 h 2090441"/>
              <a:gd name="connsiteX5" fmla="*/ 4685289 w 7379937"/>
              <a:gd name="connsiteY5" fmla="*/ 10788 h 2090441"/>
              <a:gd name="connsiteX6" fmla="*/ 4822854 w 7379937"/>
              <a:gd name="connsiteY6" fmla="*/ 51249 h 2090441"/>
              <a:gd name="connsiteX7" fmla="*/ 6675930 w 7379937"/>
              <a:gd name="connsiteY7" fmla="*/ 1515907 h 2090441"/>
              <a:gd name="connsiteX8" fmla="*/ 7379937 w 7379937"/>
              <a:gd name="connsiteY8" fmla="*/ 1936693 h 2090441"/>
              <a:gd name="connsiteX9" fmla="*/ 7379937 w 7379937"/>
              <a:gd name="connsiteY9" fmla="*/ 1936693 h 209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79937" h="2090441">
                <a:moveTo>
                  <a:pt x="0" y="2090441"/>
                </a:moveTo>
                <a:cubicBezTo>
                  <a:pt x="218485" y="2071560"/>
                  <a:pt x="445062" y="2093138"/>
                  <a:pt x="655455" y="2033797"/>
                </a:cubicBezTo>
                <a:cubicBezTo>
                  <a:pt x="984531" y="1761365"/>
                  <a:pt x="1168877" y="1497530"/>
                  <a:pt x="1449401" y="1200822"/>
                </a:cubicBezTo>
                <a:cubicBezTo>
                  <a:pt x="2039151" y="884432"/>
                  <a:pt x="2727016" y="596112"/>
                  <a:pt x="3414839" y="383022"/>
                </a:cubicBezTo>
                <a:cubicBezTo>
                  <a:pt x="3641416" y="302103"/>
                  <a:pt x="3859901" y="164537"/>
                  <a:pt x="3997466" y="43157"/>
                </a:cubicBezTo>
                <a:cubicBezTo>
                  <a:pt x="4242924" y="-1"/>
                  <a:pt x="4464107" y="-10790"/>
                  <a:pt x="4685289" y="10788"/>
                </a:cubicBezTo>
                <a:cubicBezTo>
                  <a:pt x="4731144" y="24275"/>
                  <a:pt x="4782965" y="24916"/>
                  <a:pt x="4822854" y="51249"/>
                </a:cubicBezTo>
                <a:cubicBezTo>
                  <a:pt x="5513375" y="507100"/>
                  <a:pt x="6106790" y="1003412"/>
                  <a:pt x="6675930" y="1515907"/>
                </a:cubicBezTo>
                <a:cubicBezTo>
                  <a:pt x="6910599" y="1696629"/>
                  <a:pt x="7145268" y="1836891"/>
                  <a:pt x="7379937" y="1936693"/>
                </a:cubicBezTo>
                <a:lnTo>
                  <a:pt x="7379937" y="1936693"/>
                </a:lnTo>
              </a:path>
            </a:pathLst>
          </a:custGeom>
          <a:noFill/>
          <a:ln w="285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sp>
        <p:nvSpPr>
          <p:cNvPr id="254" name="TextBox 253"/>
          <p:cNvSpPr txBox="1"/>
          <p:nvPr>
            <p:custDataLst>
              <p:tags r:id="rId6"/>
            </p:custDataLst>
          </p:nvPr>
        </p:nvSpPr>
        <p:spPr>
          <a:xfrm>
            <a:off x="5129967" y="1883887"/>
            <a:ext cx="2603981" cy="253916"/>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sz="1050" dirty="0">
                <a:solidFill>
                  <a:prstClr val="black">
                    <a:lumMod val="65000"/>
                    <a:lumOff val="35000"/>
                  </a:prstClr>
                </a:solidFill>
                <a:latin typeface="Arial" panose="020B0604020202020204" pitchFamily="34" charset="0"/>
                <a:cs typeface="Arial" panose="020B0604020202020204" pitchFamily="34" charset="0"/>
              </a:rPr>
              <a:t>Energy saving by heat recovery mode</a:t>
            </a:r>
          </a:p>
        </p:txBody>
      </p:sp>
      <p:cxnSp>
        <p:nvCxnSpPr>
          <p:cNvPr id="255" name="직선 연결선 254"/>
          <p:cNvCxnSpPr/>
          <p:nvPr>
            <p:custDataLst>
              <p:tags r:id="rId7"/>
            </p:custDataLst>
          </p:nvPr>
        </p:nvCxnSpPr>
        <p:spPr>
          <a:xfrm flipH="1">
            <a:off x="6228539" y="1559886"/>
            <a:ext cx="2992" cy="317400"/>
          </a:xfrm>
          <a:prstGeom prst="line">
            <a:avLst/>
          </a:prstGeom>
          <a:noFill/>
          <a:ln w="12700">
            <a:solidFill>
              <a:srgbClr val="6B6B6B"/>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256" name="TextBox 255"/>
          <p:cNvSpPr txBox="1"/>
          <p:nvPr>
            <p:custDataLst>
              <p:tags r:id="rId8"/>
            </p:custDataLst>
          </p:nvPr>
        </p:nvSpPr>
        <p:spPr>
          <a:xfrm>
            <a:off x="4765871" y="2287848"/>
            <a:ext cx="2851425" cy="253916"/>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1050" dirty="0">
                <a:solidFill>
                  <a:srgbClr val="C60751"/>
                </a:solidFill>
                <a:latin typeface="Arial" panose="020B0604020202020204" pitchFamily="34" charset="0"/>
                <a:cs typeface="Arial" panose="020B0604020202020204" pitchFamily="34" charset="0"/>
              </a:rPr>
              <a:t>Energy saving by bypass mode</a:t>
            </a:r>
          </a:p>
        </p:txBody>
      </p:sp>
      <p:sp>
        <p:nvSpPr>
          <p:cNvPr id="257" name="TextBox 256"/>
          <p:cNvSpPr txBox="1"/>
          <p:nvPr>
            <p:custDataLst>
              <p:tags r:id="rId9"/>
            </p:custDataLst>
          </p:nvPr>
        </p:nvSpPr>
        <p:spPr>
          <a:xfrm>
            <a:off x="4858835" y="2828180"/>
            <a:ext cx="2665496" cy="253916"/>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1050" dirty="0">
                <a:solidFill>
                  <a:prstClr val="black">
                    <a:lumMod val="65000"/>
                    <a:lumOff val="35000"/>
                  </a:prstClr>
                </a:solidFill>
                <a:latin typeface="Arial" panose="020B0604020202020204" pitchFamily="34" charset="0"/>
                <a:cs typeface="Arial" panose="020B0604020202020204" pitchFamily="34" charset="0"/>
              </a:rPr>
              <a:t>Energy saving by heat recovery mode</a:t>
            </a:r>
          </a:p>
        </p:txBody>
      </p:sp>
      <p:sp>
        <p:nvSpPr>
          <p:cNvPr id="258" name="자유형 257"/>
          <p:cNvSpPr/>
          <p:nvPr>
            <p:custDataLst>
              <p:tags r:id="rId10"/>
            </p:custDataLst>
          </p:nvPr>
        </p:nvSpPr>
        <p:spPr>
          <a:xfrm rot="3034501">
            <a:off x="7112147" y="2001055"/>
            <a:ext cx="1453316" cy="533068"/>
          </a:xfrm>
          <a:custGeom>
            <a:avLst/>
            <a:gdLst>
              <a:gd name="connsiteX0" fmla="*/ 0 w 1744250"/>
              <a:gd name="connsiteY0" fmla="*/ 325676 h 366386"/>
              <a:gd name="connsiteX1" fmla="*/ 482252 w 1744250"/>
              <a:gd name="connsiteY1" fmla="*/ 37578 h 366386"/>
              <a:gd name="connsiteX2" fmla="*/ 1121080 w 1744250"/>
              <a:gd name="connsiteY2" fmla="*/ 0 h 366386"/>
              <a:gd name="connsiteX3" fmla="*/ 1252603 w 1744250"/>
              <a:gd name="connsiteY3" fmla="*/ 28183 h 366386"/>
              <a:gd name="connsiteX4" fmla="*/ 1744250 w 1744250"/>
              <a:gd name="connsiteY4" fmla="*/ 366386 h 366386"/>
              <a:gd name="connsiteX5" fmla="*/ 1149263 w 1744250"/>
              <a:gd name="connsiteY5" fmla="*/ 197285 h 366386"/>
              <a:gd name="connsiteX6" fmla="*/ 522962 w 1744250"/>
              <a:gd name="connsiteY6" fmla="*/ 228600 h 366386"/>
              <a:gd name="connsiteX7" fmla="*/ 0 w 1744250"/>
              <a:gd name="connsiteY7" fmla="*/ 32567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343116 h 366386"/>
              <a:gd name="connsiteX1" fmla="*/ 479760 w 1741758"/>
              <a:gd name="connsiteY1" fmla="*/ 37578 h 366386"/>
              <a:gd name="connsiteX2" fmla="*/ 1118588 w 1741758"/>
              <a:gd name="connsiteY2" fmla="*/ 0 h 366386"/>
              <a:gd name="connsiteX3" fmla="*/ 1250111 w 1741758"/>
              <a:gd name="connsiteY3" fmla="*/ 28183 h 366386"/>
              <a:gd name="connsiteX4" fmla="*/ 1741758 w 1741758"/>
              <a:gd name="connsiteY4" fmla="*/ 366386 h 366386"/>
              <a:gd name="connsiteX5" fmla="*/ 1146771 w 1741758"/>
              <a:gd name="connsiteY5" fmla="*/ 197285 h 366386"/>
              <a:gd name="connsiteX6" fmla="*/ 520470 w 1741758"/>
              <a:gd name="connsiteY6" fmla="*/ 228600 h 366386"/>
              <a:gd name="connsiteX7" fmla="*/ 0 w 1741758"/>
              <a:gd name="connsiteY7" fmla="*/ 343116 h 366386"/>
              <a:gd name="connsiteX0" fmla="*/ 0 w 1741758"/>
              <a:gd name="connsiteY0" fmla="*/ 403270 h 426540"/>
              <a:gd name="connsiteX1" fmla="*/ 500559 w 1741758"/>
              <a:gd name="connsiteY1" fmla="*/ 9241 h 426540"/>
              <a:gd name="connsiteX2" fmla="*/ 1118588 w 1741758"/>
              <a:gd name="connsiteY2" fmla="*/ 60154 h 426540"/>
              <a:gd name="connsiteX3" fmla="*/ 1250111 w 1741758"/>
              <a:gd name="connsiteY3" fmla="*/ 88337 h 426540"/>
              <a:gd name="connsiteX4" fmla="*/ 1741758 w 1741758"/>
              <a:gd name="connsiteY4" fmla="*/ 426540 h 426540"/>
              <a:gd name="connsiteX5" fmla="*/ 1146771 w 1741758"/>
              <a:gd name="connsiteY5" fmla="*/ 257439 h 426540"/>
              <a:gd name="connsiteX6" fmla="*/ 520470 w 1741758"/>
              <a:gd name="connsiteY6" fmla="*/ 288754 h 426540"/>
              <a:gd name="connsiteX7" fmla="*/ 0 w 1741758"/>
              <a:gd name="connsiteY7" fmla="*/ 403270 h 426540"/>
              <a:gd name="connsiteX0" fmla="*/ 0 w 1741758"/>
              <a:gd name="connsiteY0" fmla="*/ 608587 h 631857"/>
              <a:gd name="connsiteX1" fmla="*/ 500559 w 1741758"/>
              <a:gd name="connsiteY1" fmla="*/ 214558 h 631857"/>
              <a:gd name="connsiteX2" fmla="*/ 882866 w 1741758"/>
              <a:gd name="connsiteY2" fmla="*/ 0 h 631857"/>
              <a:gd name="connsiteX3" fmla="*/ 1250111 w 1741758"/>
              <a:gd name="connsiteY3" fmla="*/ 293654 h 631857"/>
              <a:gd name="connsiteX4" fmla="*/ 1741758 w 1741758"/>
              <a:gd name="connsiteY4" fmla="*/ 631857 h 631857"/>
              <a:gd name="connsiteX5" fmla="*/ 1146771 w 1741758"/>
              <a:gd name="connsiteY5" fmla="*/ 462756 h 631857"/>
              <a:gd name="connsiteX6" fmla="*/ 520470 w 1741758"/>
              <a:gd name="connsiteY6" fmla="*/ 494071 h 631857"/>
              <a:gd name="connsiteX7" fmla="*/ 0 w 1741758"/>
              <a:gd name="connsiteY7" fmla="*/ 608587 h 631857"/>
              <a:gd name="connsiteX0" fmla="*/ 0 w 1741758"/>
              <a:gd name="connsiteY0" fmla="*/ 904868 h 928138"/>
              <a:gd name="connsiteX1" fmla="*/ 500559 w 1741758"/>
              <a:gd name="connsiteY1" fmla="*/ 510839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882866 w 1741758"/>
              <a:gd name="connsiteY2" fmla="*/ 296281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741758"/>
              <a:gd name="connsiteY0" fmla="*/ 904868 h 928138"/>
              <a:gd name="connsiteX1" fmla="*/ 479760 w 1741758"/>
              <a:gd name="connsiteY1" fmla="*/ 540336 h 928138"/>
              <a:gd name="connsiteX2" fmla="*/ 1049259 w 1741758"/>
              <a:gd name="connsiteY2" fmla="*/ 168462 h 928138"/>
              <a:gd name="connsiteX3" fmla="*/ 1347173 w 1741758"/>
              <a:gd name="connsiteY3" fmla="*/ 0 h 928138"/>
              <a:gd name="connsiteX4" fmla="*/ 1741758 w 1741758"/>
              <a:gd name="connsiteY4" fmla="*/ 928138 h 928138"/>
              <a:gd name="connsiteX5" fmla="*/ 1146771 w 1741758"/>
              <a:gd name="connsiteY5" fmla="*/ 759037 h 928138"/>
              <a:gd name="connsiteX6" fmla="*/ 520470 w 1741758"/>
              <a:gd name="connsiteY6" fmla="*/ 790352 h 928138"/>
              <a:gd name="connsiteX7" fmla="*/ 0 w 1741758"/>
              <a:gd name="connsiteY7" fmla="*/ 904868 h 928138"/>
              <a:gd name="connsiteX0" fmla="*/ 0 w 1818021"/>
              <a:gd name="connsiteY0" fmla="*/ 999285 h 999285"/>
              <a:gd name="connsiteX1" fmla="*/ 479760 w 1818021"/>
              <a:gd name="connsiteY1" fmla="*/ 634753 h 999285"/>
              <a:gd name="connsiteX2" fmla="*/ 1049259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56192 w 1818021"/>
              <a:gd name="connsiteY2" fmla="*/ 272711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46771 w 1818021"/>
              <a:gd name="connsiteY5" fmla="*/ 853454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520470 w 1818021"/>
              <a:gd name="connsiteY6" fmla="*/ 88476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575934 w 1818021"/>
              <a:gd name="connsiteY6" fmla="*/ 756949 h 999285"/>
              <a:gd name="connsiteX7" fmla="*/ 0 w 1818021"/>
              <a:gd name="connsiteY7" fmla="*/ 999285 h 999285"/>
              <a:gd name="connsiteX0" fmla="*/ 0 w 1818021"/>
              <a:gd name="connsiteY0" fmla="*/ 999285 h 999285"/>
              <a:gd name="connsiteX1" fmla="*/ 479760 w 1818021"/>
              <a:gd name="connsiteY1" fmla="*/ 634753 h 999285"/>
              <a:gd name="connsiteX2" fmla="*/ 1035393 w 1818021"/>
              <a:gd name="connsiteY2" fmla="*/ 262879 h 999285"/>
              <a:gd name="connsiteX3" fmla="*/ 1347173 w 1818021"/>
              <a:gd name="connsiteY3" fmla="*/ 94417 h 999285"/>
              <a:gd name="connsiteX4" fmla="*/ 1818021 w 1818021"/>
              <a:gd name="connsiteY4" fmla="*/ 0 h 999285"/>
              <a:gd name="connsiteX5" fmla="*/ 1112106 w 1818021"/>
              <a:gd name="connsiteY5" fmla="*/ 499492 h 999285"/>
              <a:gd name="connsiteX6" fmla="*/ 610599 w 1818021"/>
              <a:gd name="connsiteY6" fmla="*/ 688123 h 999285"/>
              <a:gd name="connsiteX7" fmla="*/ 0 w 1818021"/>
              <a:gd name="connsiteY7" fmla="*/ 999285 h 999285"/>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499492 h 1028781"/>
              <a:gd name="connsiteX6" fmla="*/ 624465 w 1831887"/>
              <a:gd name="connsiteY6" fmla="*/ 688123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361840 h 1028781"/>
              <a:gd name="connsiteX6" fmla="*/ 624465 w 1831887"/>
              <a:gd name="connsiteY6" fmla="*/ 688123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25972 w 1831887"/>
              <a:gd name="connsiteY5" fmla="*/ 361840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1049259 w 1831887"/>
              <a:gd name="connsiteY2" fmla="*/ 262879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34753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514425 w 1831887"/>
              <a:gd name="connsiteY1" fmla="*/ 654418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0 w 1831887"/>
              <a:gd name="connsiteY0" fmla="*/ 1028781 h 1028781"/>
              <a:gd name="connsiteX1" fmla="*/ 493626 w 1831887"/>
              <a:gd name="connsiteY1" fmla="*/ 644585 h 1028781"/>
              <a:gd name="connsiteX2" fmla="*/ 917532 w 1831887"/>
              <a:gd name="connsiteY2" fmla="*/ 341537 h 1028781"/>
              <a:gd name="connsiteX3" fmla="*/ 1361039 w 1831887"/>
              <a:gd name="connsiteY3" fmla="*/ 94417 h 1028781"/>
              <a:gd name="connsiteX4" fmla="*/ 1831887 w 1831887"/>
              <a:gd name="connsiteY4" fmla="*/ 0 h 1028781"/>
              <a:gd name="connsiteX5" fmla="*/ 1167571 w 1831887"/>
              <a:gd name="connsiteY5" fmla="*/ 283182 h 1028781"/>
              <a:gd name="connsiteX6" fmla="*/ 679929 w 1831887"/>
              <a:gd name="connsiteY6" fmla="*/ 599632 h 1028781"/>
              <a:gd name="connsiteX7" fmla="*/ 0 w 1831887"/>
              <a:gd name="connsiteY7" fmla="*/ 1028781 h 1028781"/>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178632 w 1842948"/>
              <a:gd name="connsiteY6" fmla="*/ 283182 h 1033390"/>
              <a:gd name="connsiteX7" fmla="*/ 690990 w 1842948"/>
              <a:gd name="connsiteY7" fmla="*/ 599632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178632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1213297 w 1842948"/>
              <a:gd name="connsiteY6" fmla="*/ 283182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862842 w 1842948"/>
              <a:gd name="connsiteY6" fmla="*/ 701926 h 1033390"/>
              <a:gd name="connsiteX7" fmla="*/ 524597 w 1842948"/>
              <a:gd name="connsiteY7" fmla="*/ 727451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862842 w 1842948"/>
              <a:gd name="connsiteY6" fmla="*/ 701926 h 1033390"/>
              <a:gd name="connsiteX7" fmla="*/ 522458 w 1842948"/>
              <a:gd name="connsiteY7" fmla="*/ 839513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8593 w 1842948"/>
              <a:gd name="connsiteY3" fmla="*/ 341537 h 1033390"/>
              <a:gd name="connsiteX4" fmla="*/ 1372100 w 1842948"/>
              <a:gd name="connsiteY4" fmla="*/ 94417 h 1033390"/>
              <a:gd name="connsiteX5" fmla="*/ 1842948 w 1842948"/>
              <a:gd name="connsiteY5" fmla="*/ 0 h 1033390"/>
              <a:gd name="connsiteX6" fmla="*/ 862842 w 1842948"/>
              <a:gd name="connsiteY6" fmla="*/ 701926 h 1033390"/>
              <a:gd name="connsiteX7" fmla="*/ 522458 w 1842948"/>
              <a:gd name="connsiteY7" fmla="*/ 839513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687 w 1842948"/>
              <a:gd name="connsiteY2" fmla="*/ 644585 h 1033390"/>
              <a:gd name="connsiteX3" fmla="*/ 929906 w 1842948"/>
              <a:gd name="connsiteY3" fmla="*/ 432167 h 1033390"/>
              <a:gd name="connsiteX4" fmla="*/ 1372100 w 1842948"/>
              <a:gd name="connsiteY4" fmla="*/ 94417 h 1033390"/>
              <a:gd name="connsiteX5" fmla="*/ 1842948 w 1842948"/>
              <a:gd name="connsiteY5" fmla="*/ 0 h 1033390"/>
              <a:gd name="connsiteX6" fmla="*/ 862842 w 1842948"/>
              <a:gd name="connsiteY6" fmla="*/ 701926 h 1033390"/>
              <a:gd name="connsiteX7" fmla="*/ 522458 w 1842948"/>
              <a:gd name="connsiteY7" fmla="*/ 839513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094 w 1842948"/>
              <a:gd name="connsiteY2" fmla="*/ 707538 h 1033390"/>
              <a:gd name="connsiteX3" fmla="*/ 929906 w 1842948"/>
              <a:gd name="connsiteY3" fmla="*/ 432167 h 1033390"/>
              <a:gd name="connsiteX4" fmla="*/ 1372100 w 1842948"/>
              <a:gd name="connsiteY4" fmla="*/ 94417 h 1033390"/>
              <a:gd name="connsiteX5" fmla="*/ 1842948 w 1842948"/>
              <a:gd name="connsiteY5" fmla="*/ 0 h 1033390"/>
              <a:gd name="connsiteX6" fmla="*/ 862842 w 1842948"/>
              <a:gd name="connsiteY6" fmla="*/ 701926 h 1033390"/>
              <a:gd name="connsiteX7" fmla="*/ 522458 w 1842948"/>
              <a:gd name="connsiteY7" fmla="*/ 839513 h 1033390"/>
              <a:gd name="connsiteX8" fmla="*/ 11061 w 1842948"/>
              <a:gd name="connsiteY8" fmla="*/ 1028781 h 1033390"/>
              <a:gd name="connsiteX0" fmla="*/ 11061 w 1842948"/>
              <a:gd name="connsiteY0" fmla="*/ 1028781 h 1033390"/>
              <a:gd name="connsiteX1" fmla="*/ 244496 w 1842948"/>
              <a:gd name="connsiteY1" fmla="*/ 869308 h 1033390"/>
              <a:gd name="connsiteX2" fmla="*/ 504094 w 1842948"/>
              <a:gd name="connsiteY2" fmla="*/ 707538 h 1033390"/>
              <a:gd name="connsiteX3" fmla="*/ 929906 w 1842948"/>
              <a:gd name="connsiteY3" fmla="*/ 432167 h 1033390"/>
              <a:gd name="connsiteX4" fmla="*/ 1224899 w 1842948"/>
              <a:gd name="connsiteY4" fmla="*/ 317374 h 1033390"/>
              <a:gd name="connsiteX5" fmla="*/ 1842948 w 1842948"/>
              <a:gd name="connsiteY5" fmla="*/ 0 h 1033390"/>
              <a:gd name="connsiteX6" fmla="*/ 862842 w 1842948"/>
              <a:gd name="connsiteY6" fmla="*/ 701926 h 1033390"/>
              <a:gd name="connsiteX7" fmla="*/ 522458 w 1842948"/>
              <a:gd name="connsiteY7" fmla="*/ 839513 h 1033390"/>
              <a:gd name="connsiteX8" fmla="*/ 11061 w 1842948"/>
              <a:gd name="connsiteY8" fmla="*/ 1028781 h 1033390"/>
              <a:gd name="connsiteX0" fmla="*/ 11061 w 1442027"/>
              <a:gd name="connsiteY0" fmla="*/ 770704 h 775313"/>
              <a:gd name="connsiteX1" fmla="*/ 244496 w 1442027"/>
              <a:gd name="connsiteY1" fmla="*/ 611231 h 775313"/>
              <a:gd name="connsiteX2" fmla="*/ 504094 w 1442027"/>
              <a:gd name="connsiteY2" fmla="*/ 449461 h 775313"/>
              <a:gd name="connsiteX3" fmla="*/ 929906 w 1442027"/>
              <a:gd name="connsiteY3" fmla="*/ 174090 h 775313"/>
              <a:gd name="connsiteX4" fmla="*/ 1224899 w 1442027"/>
              <a:gd name="connsiteY4" fmla="*/ 59297 h 775313"/>
              <a:gd name="connsiteX5" fmla="*/ 1442027 w 1442027"/>
              <a:gd name="connsiteY5" fmla="*/ 0 h 775313"/>
              <a:gd name="connsiteX6" fmla="*/ 862842 w 1442027"/>
              <a:gd name="connsiteY6" fmla="*/ 443849 h 775313"/>
              <a:gd name="connsiteX7" fmla="*/ 522458 w 1442027"/>
              <a:gd name="connsiteY7" fmla="*/ 581436 h 775313"/>
              <a:gd name="connsiteX8" fmla="*/ 11061 w 1442027"/>
              <a:gd name="connsiteY8" fmla="*/ 770704 h 775313"/>
              <a:gd name="connsiteX0" fmla="*/ 11061 w 1289273"/>
              <a:gd name="connsiteY0" fmla="*/ 733357 h 737966"/>
              <a:gd name="connsiteX1" fmla="*/ 244496 w 1289273"/>
              <a:gd name="connsiteY1" fmla="*/ 573884 h 737966"/>
              <a:gd name="connsiteX2" fmla="*/ 504094 w 1289273"/>
              <a:gd name="connsiteY2" fmla="*/ 412114 h 737966"/>
              <a:gd name="connsiteX3" fmla="*/ 929906 w 1289273"/>
              <a:gd name="connsiteY3" fmla="*/ 136743 h 737966"/>
              <a:gd name="connsiteX4" fmla="*/ 1224899 w 1289273"/>
              <a:gd name="connsiteY4" fmla="*/ 21950 h 737966"/>
              <a:gd name="connsiteX5" fmla="*/ 1260787 w 1289273"/>
              <a:gd name="connsiteY5" fmla="*/ 120466 h 737966"/>
              <a:gd name="connsiteX6" fmla="*/ 862842 w 1289273"/>
              <a:gd name="connsiteY6" fmla="*/ 406502 h 737966"/>
              <a:gd name="connsiteX7" fmla="*/ 522458 w 1289273"/>
              <a:gd name="connsiteY7" fmla="*/ 544089 h 737966"/>
              <a:gd name="connsiteX8" fmla="*/ 11061 w 1289273"/>
              <a:gd name="connsiteY8" fmla="*/ 733357 h 737966"/>
              <a:gd name="connsiteX0" fmla="*/ 11061 w 1289458"/>
              <a:gd name="connsiteY0" fmla="*/ 728164 h 732773"/>
              <a:gd name="connsiteX1" fmla="*/ 244496 w 1289458"/>
              <a:gd name="connsiteY1" fmla="*/ 568691 h 732773"/>
              <a:gd name="connsiteX2" fmla="*/ 504094 w 1289458"/>
              <a:gd name="connsiteY2" fmla="*/ 406921 h 732773"/>
              <a:gd name="connsiteX3" fmla="*/ 929906 w 1289458"/>
              <a:gd name="connsiteY3" fmla="*/ 131550 h 732773"/>
              <a:gd name="connsiteX4" fmla="*/ 1224899 w 1289458"/>
              <a:gd name="connsiteY4" fmla="*/ 16757 h 732773"/>
              <a:gd name="connsiteX5" fmla="*/ 1260787 w 1289458"/>
              <a:gd name="connsiteY5" fmla="*/ 115273 h 732773"/>
              <a:gd name="connsiteX6" fmla="*/ 862842 w 1289458"/>
              <a:gd name="connsiteY6" fmla="*/ 401309 h 732773"/>
              <a:gd name="connsiteX7" fmla="*/ 522458 w 1289458"/>
              <a:gd name="connsiteY7" fmla="*/ 538896 h 732773"/>
              <a:gd name="connsiteX8" fmla="*/ 11061 w 1289458"/>
              <a:gd name="connsiteY8" fmla="*/ 728164 h 732773"/>
              <a:gd name="connsiteX0" fmla="*/ 11061 w 1289458"/>
              <a:gd name="connsiteY0" fmla="*/ 728164 h 732773"/>
              <a:gd name="connsiteX1" fmla="*/ 244496 w 1289458"/>
              <a:gd name="connsiteY1" fmla="*/ 568691 h 732773"/>
              <a:gd name="connsiteX2" fmla="*/ 504094 w 1289458"/>
              <a:gd name="connsiteY2" fmla="*/ 406921 h 732773"/>
              <a:gd name="connsiteX3" fmla="*/ 929906 w 1289458"/>
              <a:gd name="connsiteY3" fmla="*/ 131550 h 732773"/>
              <a:gd name="connsiteX4" fmla="*/ 1224899 w 1289458"/>
              <a:gd name="connsiteY4" fmla="*/ 16757 h 732773"/>
              <a:gd name="connsiteX5" fmla="*/ 1260787 w 1289458"/>
              <a:gd name="connsiteY5" fmla="*/ 115273 h 732773"/>
              <a:gd name="connsiteX6" fmla="*/ 862842 w 1289458"/>
              <a:gd name="connsiteY6" fmla="*/ 401309 h 732773"/>
              <a:gd name="connsiteX7" fmla="*/ 522458 w 1289458"/>
              <a:gd name="connsiteY7" fmla="*/ 538896 h 732773"/>
              <a:gd name="connsiteX8" fmla="*/ 11061 w 1289458"/>
              <a:gd name="connsiteY8" fmla="*/ 728164 h 732773"/>
              <a:gd name="connsiteX0" fmla="*/ 11061 w 1224899"/>
              <a:gd name="connsiteY0" fmla="*/ 711407 h 716016"/>
              <a:gd name="connsiteX1" fmla="*/ 244496 w 1224899"/>
              <a:gd name="connsiteY1" fmla="*/ 551934 h 716016"/>
              <a:gd name="connsiteX2" fmla="*/ 504094 w 1224899"/>
              <a:gd name="connsiteY2" fmla="*/ 390164 h 716016"/>
              <a:gd name="connsiteX3" fmla="*/ 929906 w 1224899"/>
              <a:gd name="connsiteY3" fmla="*/ 114793 h 716016"/>
              <a:gd name="connsiteX4" fmla="*/ 1224899 w 1224899"/>
              <a:gd name="connsiteY4" fmla="*/ 0 h 716016"/>
              <a:gd name="connsiteX5" fmla="*/ 862842 w 1224899"/>
              <a:gd name="connsiteY5" fmla="*/ 384552 h 716016"/>
              <a:gd name="connsiteX6" fmla="*/ 522458 w 1224899"/>
              <a:gd name="connsiteY6" fmla="*/ 522139 h 716016"/>
              <a:gd name="connsiteX7" fmla="*/ 11061 w 1224899"/>
              <a:gd name="connsiteY7" fmla="*/ 711407 h 716016"/>
              <a:gd name="connsiteX0" fmla="*/ 11061 w 1232519"/>
              <a:gd name="connsiteY0" fmla="*/ 614254 h 618863"/>
              <a:gd name="connsiteX1" fmla="*/ 244496 w 1232519"/>
              <a:gd name="connsiteY1" fmla="*/ 454781 h 618863"/>
              <a:gd name="connsiteX2" fmla="*/ 504094 w 1232519"/>
              <a:gd name="connsiteY2" fmla="*/ 293011 h 618863"/>
              <a:gd name="connsiteX3" fmla="*/ 929906 w 1232519"/>
              <a:gd name="connsiteY3" fmla="*/ 17640 h 618863"/>
              <a:gd name="connsiteX4" fmla="*/ 1232519 w 1232519"/>
              <a:gd name="connsiteY4" fmla="*/ 13560 h 618863"/>
              <a:gd name="connsiteX5" fmla="*/ 862842 w 1232519"/>
              <a:gd name="connsiteY5" fmla="*/ 287399 h 618863"/>
              <a:gd name="connsiteX6" fmla="*/ 522458 w 1232519"/>
              <a:gd name="connsiteY6" fmla="*/ 424986 h 618863"/>
              <a:gd name="connsiteX7" fmla="*/ 11061 w 1232519"/>
              <a:gd name="connsiteY7" fmla="*/ 614254 h 618863"/>
              <a:gd name="connsiteX0" fmla="*/ 11061 w 1232519"/>
              <a:gd name="connsiteY0" fmla="*/ 600694 h 605303"/>
              <a:gd name="connsiteX1" fmla="*/ 244496 w 1232519"/>
              <a:gd name="connsiteY1" fmla="*/ 441221 h 605303"/>
              <a:gd name="connsiteX2" fmla="*/ 504094 w 1232519"/>
              <a:gd name="connsiteY2" fmla="*/ 279451 h 605303"/>
              <a:gd name="connsiteX3" fmla="*/ 863862 w 1232519"/>
              <a:gd name="connsiteY3" fmla="*/ 118005 h 605303"/>
              <a:gd name="connsiteX4" fmla="*/ 1232519 w 1232519"/>
              <a:gd name="connsiteY4" fmla="*/ 0 h 605303"/>
              <a:gd name="connsiteX5" fmla="*/ 862842 w 1232519"/>
              <a:gd name="connsiteY5" fmla="*/ 273839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41848 w 1232519"/>
              <a:gd name="connsiteY3" fmla="*/ 155980 h 605303"/>
              <a:gd name="connsiteX4" fmla="*/ 1232519 w 1232519"/>
              <a:gd name="connsiteY4" fmla="*/ 0 h 605303"/>
              <a:gd name="connsiteX5" fmla="*/ 862842 w 1232519"/>
              <a:gd name="connsiteY5" fmla="*/ 273839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41848 w 1232519"/>
              <a:gd name="connsiteY3" fmla="*/ 155980 h 605303"/>
              <a:gd name="connsiteX4" fmla="*/ 1232519 w 1232519"/>
              <a:gd name="connsiteY4" fmla="*/ 0 h 605303"/>
              <a:gd name="connsiteX5" fmla="*/ 862842 w 1232519"/>
              <a:gd name="connsiteY5" fmla="*/ 273839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862842 w 1232519"/>
              <a:gd name="connsiteY5" fmla="*/ 273839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22620 w 1232519"/>
              <a:gd name="connsiteY5" fmla="*/ 279521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22620 w 1232519"/>
              <a:gd name="connsiteY5" fmla="*/ 279521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22620 w 1232519"/>
              <a:gd name="connsiteY5" fmla="*/ 279521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79295 w 1232519"/>
              <a:gd name="connsiteY5" fmla="*/ 327718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56269 w 1232519"/>
              <a:gd name="connsiteY5" fmla="*/ 284247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85250 w 1232519"/>
              <a:gd name="connsiteY5" fmla="*/ 317580 h 605303"/>
              <a:gd name="connsiteX6" fmla="*/ 522458 w 1232519"/>
              <a:gd name="connsiteY6" fmla="*/ 411426 h 605303"/>
              <a:gd name="connsiteX7" fmla="*/ 11061 w 1232519"/>
              <a:gd name="connsiteY7" fmla="*/ 600694 h 605303"/>
              <a:gd name="connsiteX0" fmla="*/ 11061 w 1232519"/>
              <a:gd name="connsiteY0" fmla="*/ 600694 h 605303"/>
              <a:gd name="connsiteX1" fmla="*/ 244496 w 1232519"/>
              <a:gd name="connsiteY1" fmla="*/ 441221 h 605303"/>
              <a:gd name="connsiteX2" fmla="*/ 504094 w 1232519"/>
              <a:gd name="connsiteY2" fmla="*/ 279451 h 605303"/>
              <a:gd name="connsiteX3" fmla="*/ 812574 w 1232519"/>
              <a:gd name="connsiteY3" fmla="*/ 160033 h 605303"/>
              <a:gd name="connsiteX4" fmla="*/ 1232519 w 1232519"/>
              <a:gd name="connsiteY4" fmla="*/ 0 h 605303"/>
              <a:gd name="connsiteX5" fmla="*/ 985250 w 1232519"/>
              <a:gd name="connsiteY5" fmla="*/ 317580 h 605303"/>
              <a:gd name="connsiteX6" fmla="*/ 519339 w 1232519"/>
              <a:gd name="connsiteY6" fmla="*/ 426419 h 605303"/>
              <a:gd name="connsiteX7" fmla="*/ 11061 w 1232519"/>
              <a:gd name="connsiteY7" fmla="*/ 600694 h 605303"/>
              <a:gd name="connsiteX0" fmla="*/ 18281 w 1115315"/>
              <a:gd name="connsiteY0" fmla="*/ 563309 h 568675"/>
              <a:gd name="connsiteX1" fmla="*/ 127292 w 1115315"/>
              <a:gd name="connsiteY1" fmla="*/ 441221 h 568675"/>
              <a:gd name="connsiteX2" fmla="*/ 386890 w 1115315"/>
              <a:gd name="connsiteY2" fmla="*/ 279451 h 568675"/>
              <a:gd name="connsiteX3" fmla="*/ 695370 w 1115315"/>
              <a:gd name="connsiteY3" fmla="*/ 160033 h 568675"/>
              <a:gd name="connsiteX4" fmla="*/ 1115315 w 1115315"/>
              <a:gd name="connsiteY4" fmla="*/ 0 h 568675"/>
              <a:gd name="connsiteX5" fmla="*/ 868046 w 1115315"/>
              <a:gd name="connsiteY5" fmla="*/ 317580 h 568675"/>
              <a:gd name="connsiteX6" fmla="*/ 402135 w 1115315"/>
              <a:gd name="connsiteY6" fmla="*/ 426419 h 568675"/>
              <a:gd name="connsiteX7" fmla="*/ 18281 w 1115315"/>
              <a:gd name="connsiteY7" fmla="*/ 563309 h 568675"/>
              <a:gd name="connsiteX0" fmla="*/ 18281 w 1115315"/>
              <a:gd name="connsiteY0" fmla="*/ 563309 h 568675"/>
              <a:gd name="connsiteX1" fmla="*/ 127292 w 1115315"/>
              <a:gd name="connsiteY1" fmla="*/ 441221 h 568675"/>
              <a:gd name="connsiteX2" fmla="*/ 386890 w 1115315"/>
              <a:gd name="connsiteY2" fmla="*/ 279451 h 568675"/>
              <a:gd name="connsiteX3" fmla="*/ 695370 w 1115315"/>
              <a:gd name="connsiteY3" fmla="*/ 160033 h 568675"/>
              <a:gd name="connsiteX4" fmla="*/ 1115315 w 1115315"/>
              <a:gd name="connsiteY4" fmla="*/ 0 h 568675"/>
              <a:gd name="connsiteX5" fmla="*/ 868046 w 1115315"/>
              <a:gd name="connsiteY5" fmla="*/ 317580 h 568675"/>
              <a:gd name="connsiteX6" fmla="*/ 402135 w 1115315"/>
              <a:gd name="connsiteY6" fmla="*/ 426419 h 568675"/>
              <a:gd name="connsiteX7" fmla="*/ 18281 w 1115315"/>
              <a:gd name="connsiteY7" fmla="*/ 563309 h 568675"/>
              <a:gd name="connsiteX0" fmla="*/ 18281 w 1115315"/>
              <a:gd name="connsiteY0" fmla="*/ 563309 h 568675"/>
              <a:gd name="connsiteX1" fmla="*/ 127292 w 1115315"/>
              <a:gd name="connsiteY1" fmla="*/ 441221 h 568675"/>
              <a:gd name="connsiteX2" fmla="*/ 386890 w 1115315"/>
              <a:gd name="connsiteY2" fmla="*/ 279451 h 568675"/>
              <a:gd name="connsiteX3" fmla="*/ 695370 w 1115315"/>
              <a:gd name="connsiteY3" fmla="*/ 160033 h 568675"/>
              <a:gd name="connsiteX4" fmla="*/ 1115315 w 1115315"/>
              <a:gd name="connsiteY4" fmla="*/ 0 h 568675"/>
              <a:gd name="connsiteX5" fmla="*/ 868046 w 1115315"/>
              <a:gd name="connsiteY5" fmla="*/ 317580 h 568675"/>
              <a:gd name="connsiteX6" fmla="*/ 397481 w 1115315"/>
              <a:gd name="connsiteY6" fmla="*/ 434339 h 568675"/>
              <a:gd name="connsiteX7" fmla="*/ 18281 w 1115315"/>
              <a:gd name="connsiteY7" fmla="*/ 563309 h 568675"/>
              <a:gd name="connsiteX0" fmla="*/ 18281 w 1115315"/>
              <a:gd name="connsiteY0" fmla="*/ 563309 h 568675"/>
              <a:gd name="connsiteX1" fmla="*/ 127292 w 1115315"/>
              <a:gd name="connsiteY1" fmla="*/ 441221 h 568675"/>
              <a:gd name="connsiteX2" fmla="*/ 386890 w 1115315"/>
              <a:gd name="connsiteY2" fmla="*/ 279451 h 568675"/>
              <a:gd name="connsiteX3" fmla="*/ 695370 w 1115315"/>
              <a:gd name="connsiteY3" fmla="*/ 160033 h 568675"/>
              <a:gd name="connsiteX4" fmla="*/ 1115315 w 1115315"/>
              <a:gd name="connsiteY4" fmla="*/ 0 h 568675"/>
              <a:gd name="connsiteX5" fmla="*/ 868046 w 1115315"/>
              <a:gd name="connsiteY5" fmla="*/ 317580 h 568675"/>
              <a:gd name="connsiteX6" fmla="*/ 397481 w 1115315"/>
              <a:gd name="connsiteY6" fmla="*/ 434339 h 568675"/>
              <a:gd name="connsiteX7" fmla="*/ 18281 w 1115315"/>
              <a:gd name="connsiteY7" fmla="*/ 563309 h 568675"/>
              <a:gd name="connsiteX0" fmla="*/ 18281 w 1123669"/>
              <a:gd name="connsiteY0" fmla="*/ 563309 h 568675"/>
              <a:gd name="connsiteX1" fmla="*/ 127292 w 1123669"/>
              <a:gd name="connsiteY1" fmla="*/ 441221 h 568675"/>
              <a:gd name="connsiteX2" fmla="*/ 386890 w 1123669"/>
              <a:gd name="connsiteY2" fmla="*/ 279451 h 568675"/>
              <a:gd name="connsiteX3" fmla="*/ 695370 w 1123669"/>
              <a:gd name="connsiteY3" fmla="*/ 160033 h 568675"/>
              <a:gd name="connsiteX4" fmla="*/ 1115315 w 1123669"/>
              <a:gd name="connsiteY4" fmla="*/ 0 h 568675"/>
              <a:gd name="connsiteX5" fmla="*/ 967393 w 1123669"/>
              <a:gd name="connsiteY5" fmla="*/ 257394 h 568675"/>
              <a:gd name="connsiteX6" fmla="*/ 868046 w 1123669"/>
              <a:gd name="connsiteY6" fmla="*/ 317580 h 568675"/>
              <a:gd name="connsiteX7" fmla="*/ 397481 w 1123669"/>
              <a:gd name="connsiteY7" fmla="*/ 434339 h 568675"/>
              <a:gd name="connsiteX8" fmla="*/ 18281 w 1123669"/>
              <a:gd name="connsiteY8" fmla="*/ 563309 h 568675"/>
              <a:gd name="connsiteX0" fmla="*/ 18281 w 1123335"/>
              <a:gd name="connsiteY0" fmla="*/ 563309 h 568675"/>
              <a:gd name="connsiteX1" fmla="*/ 127292 w 1123335"/>
              <a:gd name="connsiteY1" fmla="*/ 441221 h 568675"/>
              <a:gd name="connsiteX2" fmla="*/ 386890 w 1123335"/>
              <a:gd name="connsiteY2" fmla="*/ 279451 h 568675"/>
              <a:gd name="connsiteX3" fmla="*/ 695370 w 1123335"/>
              <a:gd name="connsiteY3" fmla="*/ 160033 h 568675"/>
              <a:gd name="connsiteX4" fmla="*/ 1115315 w 1123335"/>
              <a:gd name="connsiteY4" fmla="*/ 0 h 568675"/>
              <a:gd name="connsiteX5" fmla="*/ 967393 w 1123335"/>
              <a:gd name="connsiteY5" fmla="*/ 257394 h 568675"/>
              <a:gd name="connsiteX6" fmla="*/ 868046 w 1123335"/>
              <a:gd name="connsiteY6" fmla="*/ 317580 h 568675"/>
              <a:gd name="connsiteX7" fmla="*/ 397481 w 1123335"/>
              <a:gd name="connsiteY7" fmla="*/ 434339 h 568675"/>
              <a:gd name="connsiteX8" fmla="*/ 18281 w 1123335"/>
              <a:gd name="connsiteY8" fmla="*/ 563309 h 568675"/>
              <a:gd name="connsiteX0" fmla="*/ 18281 w 1123348"/>
              <a:gd name="connsiteY0" fmla="*/ 563309 h 568675"/>
              <a:gd name="connsiteX1" fmla="*/ 127292 w 1123348"/>
              <a:gd name="connsiteY1" fmla="*/ 441221 h 568675"/>
              <a:gd name="connsiteX2" fmla="*/ 386890 w 1123348"/>
              <a:gd name="connsiteY2" fmla="*/ 279451 h 568675"/>
              <a:gd name="connsiteX3" fmla="*/ 695370 w 1123348"/>
              <a:gd name="connsiteY3" fmla="*/ 160033 h 568675"/>
              <a:gd name="connsiteX4" fmla="*/ 1115315 w 1123348"/>
              <a:gd name="connsiteY4" fmla="*/ 0 h 568675"/>
              <a:gd name="connsiteX5" fmla="*/ 967393 w 1123348"/>
              <a:gd name="connsiteY5" fmla="*/ 257394 h 568675"/>
              <a:gd name="connsiteX6" fmla="*/ 868046 w 1123348"/>
              <a:gd name="connsiteY6" fmla="*/ 317580 h 568675"/>
              <a:gd name="connsiteX7" fmla="*/ 397481 w 1123348"/>
              <a:gd name="connsiteY7" fmla="*/ 434339 h 568675"/>
              <a:gd name="connsiteX8" fmla="*/ 18281 w 1123348"/>
              <a:gd name="connsiteY8" fmla="*/ 563309 h 568675"/>
              <a:gd name="connsiteX0" fmla="*/ 18281 w 1123688"/>
              <a:gd name="connsiteY0" fmla="*/ 563309 h 568675"/>
              <a:gd name="connsiteX1" fmla="*/ 127292 w 1123688"/>
              <a:gd name="connsiteY1" fmla="*/ 441221 h 568675"/>
              <a:gd name="connsiteX2" fmla="*/ 386890 w 1123688"/>
              <a:gd name="connsiteY2" fmla="*/ 279451 h 568675"/>
              <a:gd name="connsiteX3" fmla="*/ 695370 w 1123688"/>
              <a:gd name="connsiteY3" fmla="*/ 160033 h 568675"/>
              <a:gd name="connsiteX4" fmla="*/ 1115315 w 1123688"/>
              <a:gd name="connsiteY4" fmla="*/ 0 h 568675"/>
              <a:gd name="connsiteX5" fmla="*/ 967393 w 1123688"/>
              <a:gd name="connsiteY5" fmla="*/ 257394 h 568675"/>
              <a:gd name="connsiteX6" fmla="*/ 868046 w 1123688"/>
              <a:gd name="connsiteY6" fmla="*/ 317580 h 568675"/>
              <a:gd name="connsiteX7" fmla="*/ 397481 w 1123688"/>
              <a:gd name="connsiteY7" fmla="*/ 434339 h 568675"/>
              <a:gd name="connsiteX8" fmla="*/ 18281 w 1123688"/>
              <a:gd name="connsiteY8" fmla="*/ 563309 h 568675"/>
              <a:gd name="connsiteX0" fmla="*/ 18281 w 1116589"/>
              <a:gd name="connsiteY0" fmla="*/ 550639 h 556005"/>
              <a:gd name="connsiteX1" fmla="*/ 127292 w 1116589"/>
              <a:gd name="connsiteY1" fmla="*/ 428551 h 556005"/>
              <a:gd name="connsiteX2" fmla="*/ 386890 w 1116589"/>
              <a:gd name="connsiteY2" fmla="*/ 266781 h 556005"/>
              <a:gd name="connsiteX3" fmla="*/ 695370 w 1116589"/>
              <a:gd name="connsiteY3" fmla="*/ 147363 h 556005"/>
              <a:gd name="connsiteX4" fmla="*/ 1107869 w 1116589"/>
              <a:gd name="connsiteY4" fmla="*/ 0 h 556005"/>
              <a:gd name="connsiteX5" fmla="*/ 967393 w 1116589"/>
              <a:gd name="connsiteY5" fmla="*/ 244724 h 556005"/>
              <a:gd name="connsiteX6" fmla="*/ 868046 w 1116589"/>
              <a:gd name="connsiteY6" fmla="*/ 304910 h 556005"/>
              <a:gd name="connsiteX7" fmla="*/ 397481 w 1116589"/>
              <a:gd name="connsiteY7" fmla="*/ 421669 h 556005"/>
              <a:gd name="connsiteX8" fmla="*/ 18281 w 1116589"/>
              <a:gd name="connsiteY8" fmla="*/ 550639 h 556005"/>
              <a:gd name="connsiteX0" fmla="*/ 18281 w 1100282"/>
              <a:gd name="connsiteY0" fmla="*/ 543916 h 549282"/>
              <a:gd name="connsiteX1" fmla="*/ 127292 w 1100282"/>
              <a:gd name="connsiteY1" fmla="*/ 421828 h 549282"/>
              <a:gd name="connsiteX2" fmla="*/ 386890 w 1100282"/>
              <a:gd name="connsiteY2" fmla="*/ 260058 h 549282"/>
              <a:gd name="connsiteX3" fmla="*/ 695370 w 1100282"/>
              <a:gd name="connsiteY3" fmla="*/ 140640 h 549282"/>
              <a:gd name="connsiteX4" fmla="*/ 1090637 w 1100282"/>
              <a:gd name="connsiteY4" fmla="*/ 0 h 549282"/>
              <a:gd name="connsiteX5" fmla="*/ 967393 w 1100282"/>
              <a:gd name="connsiteY5" fmla="*/ 238001 h 549282"/>
              <a:gd name="connsiteX6" fmla="*/ 868046 w 1100282"/>
              <a:gd name="connsiteY6" fmla="*/ 298187 h 549282"/>
              <a:gd name="connsiteX7" fmla="*/ 397481 w 1100282"/>
              <a:gd name="connsiteY7" fmla="*/ 414946 h 549282"/>
              <a:gd name="connsiteX8" fmla="*/ 18281 w 1100282"/>
              <a:gd name="connsiteY8" fmla="*/ 543916 h 549282"/>
              <a:gd name="connsiteX0" fmla="*/ 18281 w 1118386"/>
              <a:gd name="connsiteY0" fmla="*/ 568379 h 573745"/>
              <a:gd name="connsiteX1" fmla="*/ 127292 w 1118386"/>
              <a:gd name="connsiteY1" fmla="*/ 446291 h 573745"/>
              <a:gd name="connsiteX2" fmla="*/ 386890 w 1118386"/>
              <a:gd name="connsiteY2" fmla="*/ 284521 h 573745"/>
              <a:gd name="connsiteX3" fmla="*/ 695370 w 1118386"/>
              <a:gd name="connsiteY3" fmla="*/ 165103 h 573745"/>
              <a:gd name="connsiteX4" fmla="*/ 1109756 w 1118386"/>
              <a:gd name="connsiteY4" fmla="*/ 0 h 573745"/>
              <a:gd name="connsiteX5" fmla="*/ 967393 w 1118386"/>
              <a:gd name="connsiteY5" fmla="*/ 262464 h 573745"/>
              <a:gd name="connsiteX6" fmla="*/ 868046 w 1118386"/>
              <a:gd name="connsiteY6" fmla="*/ 322650 h 573745"/>
              <a:gd name="connsiteX7" fmla="*/ 397481 w 1118386"/>
              <a:gd name="connsiteY7" fmla="*/ 439409 h 573745"/>
              <a:gd name="connsiteX8" fmla="*/ 18281 w 1118386"/>
              <a:gd name="connsiteY8" fmla="*/ 568379 h 573745"/>
              <a:gd name="connsiteX0" fmla="*/ 18281 w 1118088"/>
              <a:gd name="connsiteY0" fmla="*/ 568379 h 573745"/>
              <a:gd name="connsiteX1" fmla="*/ 127292 w 1118088"/>
              <a:gd name="connsiteY1" fmla="*/ 446291 h 573745"/>
              <a:gd name="connsiteX2" fmla="*/ 386890 w 1118088"/>
              <a:gd name="connsiteY2" fmla="*/ 284521 h 573745"/>
              <a:gd name="connsiteX3" fmla="*/ 695370 w 1118088"/>
              <a:gd name="connsiteY3" fmla="*/ 165103 h 573745"/>
              <a:gd name="connsiteX4" fmla="*/ 1109756 w 1118088"/>
              <a:gd name="connsiteY4" fmla="*/ 0 h 573745"/>
              <a:gd name="connsiteX5" fmla="*/ 960915 w 1118088"/>
              <a:gd name="connsiteY5" fmla="*/ 281557 h 573745"/>
              <a:gd name="connsiteX6" fmla="*/ 868046 w 1118088"/>
              <a:gd name="connsiteY6" fmla="*/ 322650 h 573745"/>
              <a:gd name="connsiteX7" fmla="*/ 397481 w 1118088"/>
              <a:gd name="connsiteY7" fmla="*/ 439409 h 573745"/>
              <a:gd name="connsiteX8" fmla="*/ 18281 w 1118088"/>
              <a:gd name="connsiteY8" fmla="*/ 568379 h 57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088" h="573745">
                <a:moveTo>
                  <a:pt x="18281" y="568379"/>
                </a:moveTo>
                <a:cubicBezTo>
                  <a:pt x="-43424" y="598577"/>
                  <a:pt x="65857" y="493601"/>
                  <a:pt x="127292" y="446291"/>
                </a:cubicBezTo>
                <a:cubicBezTo>
                  <a:pt x="188727" y="398981"/>
                  <a:pt x="285585" y="357734"/>
                  <a:pt x="386890" y="284521"/>
                </a:cubicBezTo>
                <a:cubicBezTo>
                  <a:pt x="621715" y="119261"/>
                  <a:pt x="511861" y="228182"/>
                  <a:pt x="695370" y="165103"/>
                </a:cubicBezTo>
                <a:cubicBezTo>
                  <a:pt x="792364" y="105672"/>
                  <a:pt x="971165" y="59431"/>
                  <a:pt x="1109756" y="0"/>
                </a:cubicBezTo>
                <a:cubicBezTo>
                  <a:pt x="1155093" y="16227"/>
                  <a:pt x="1002577" y="205258"/>
                  <a:pt x="960915" y="281557"/>
                </a:cubicBezTo>
                <a:cubicBezTo>
                  <a:pt x="919704" y="334487"/>
                  <a:pt x="963031" y="293159"/>
                  <a:pt x="868046" y="322650"/>
                </a:cubicBezTo>
                <a:cubicBezTo>
                  <a:pt x="754585" y="368512"/>
                  <a:pt x="510942" y="393547"/>
                  <a:pt x="397481" y="439409"/>
                </a:cubicBezTo>
                <a:cubicBezTo>
                  <a:pt x="139146" y="529887"/>
                  <a:pt x="249680" y="478576"/>
                  <a:pt x="18281" y="568379"/>
                </a:cubicBezTo>
                <a:close/>
              </a:path>
            </a:pathLst>
          </a:custGeom>
          <a:pattFill prst="pct25">
            <a:fgClr>
              <a:schemeClr val="accent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prstClr val="white"/>
              </a:solidFill>
              <a:latin typeface="Arial" panose="020B0604020202020204" pitchFamily="34" charset="0"/>
              <a:cs typeface="Arial" panose="020B0604020202020204" pitchFamily="34" charset="0"/>
            </a:endParaRPr>
          </a:p>
        </p:txBody>
      </p:sp>
      <p:sp>
        <p:nvSpPr>
          <p:cNvPr id="259" name="자유형 258"/>
          <p:cNvSpPr/>
          <p:nvPr>
            <p:custDataLst>
              <p:tags r:id="rId11"/>
            </p:custDataLst>
          </p:nvPr>
        </p:nvSpPr>
        <p:spPr>
          <a:xfrm>
            <a:off x="3242143" y="1854350"/>
            <a:ext cx="2000225" cy="817421"/>
          </a:xfrm>
          <a:custGeom>
            <a:avLst/>
            <a:gdLst>
              <a:gd name="connsiteX0" fmla="*/ 0 w 7373566"/>
              <a:gd name="connsiteY0" fmla="*/ 1498060 h 1498060"/>
              <a:gd name="connsiteX1" fmla="*/ 680937 w 7373566"/>
              <a:gd name="connsiteY1" fmla="*/ 1478605 h 1498060"/>
              <a:gd name="connsiteX2" fmla="*/ 1468877 w 7373566"/>
              <a:gd name="connsiteY2" fmla="*/ 1157592 h 1498060"/>
              <a:gd name="connsiteX3" fmla="*/ 3521413 w 7373566"/>
              <a:gd name="connsiteY3" fmla="*/ 340468 h 1498060"/>
              <a:gd name="connsiteX4" fmla="*/ 4007796 w 7373566"/>
              <a:gd name="connsiteY4" fmla="*/ 38911 h 1498060"/>
              <a:gd name="connsiteX5" fmla="*/ 4669277 w 7373566"/>
              <a:gd name="connsiteY5" fmla="*/ 0 h 1498060"/>
              <a:gd name="connsiteX6" fmla="*/ 4786009 w 7373566"/>
              <a:gd name="connsiteY6" fmla="*/ 29183 h 1498060"/>
              <a:gd name="connsiteX7" fmla="*/ 6838545 w 7373566"/>
              <a:gd name="connsiteY7" fmla="*/ 1332690 h 1498060"/>
              <a:gd name="connsiteX8" fmla="*/ 7373566 w 7373566"/>
              <a:gd name="connsiteY8" fmla="*/ 1429966 h 1498060"/>
              <a:gd name="connsiteX9" fmla="*/ 7373566 w 7373566"/>
              <a:gd name="connsiteY9" fmla="*/ 1429966 h 1498060"/>
              <a:gd name="connsiteX0" fmla="*/ 0 w 7373566"/>
              <a:gd name="connsiteY0" fmla="*/ 1498060 h 1504197"/>
              <a:gd name="connsiteX1" fmla="*/ 680937 w 7373566"/>
              <a:gd name="connsiteY1" fmla="*/ 1478605 h 1504197"/>
              <a:gd name="connsiteX2" fmla="*/ 1468877 w 7373566"/>
              <a:gd name="connsiteY2" fmla="*/ 1157592 h 1504197"/>
              <a:gd name="connsiteX3" fmla="*/ 3521413 w 7373566"/>
              <a:gd name="connsiteY3" fmla="*/ 340468 h 1504197"/>
              <a:gd name="connsiteX4" fmla="*/ 4007796 w 7373566"/>
              <a:gd name="connsiteY4" fmla="*/ 38911 h 1504197"/>
              <a:gd name="connsiteX5" fmla="*/ 4669277 w 7373566"/>
              <a:gd name="connsiteY5" fmla="*/ 0 h 1504197"/>
              <a:gd name="connsiteX6" fmla="*/ 4786009 w 7373566"/>
              <a:gd name="connsiteY6" fmla="*/ 29183 h 1504197"/>
              <a:gd name="connsiteX7" fmla="*/ 6838545 w 7373566"/>
              <a:gd name="connsiteY7" fmla="*/ 1332690 h 1504197"/>
              <a:gd name="connsiteX8" fmla="*/ 7373566 w 7373566"/>
              <a:gd name="connsiteY8" fmla="*/ 1429966 h 1504197"/>
              <a:gd name="connsiteX9" fmla="*/ 7373566 w 7373566"/>
              <a:gd name="connsiteY9" fmla="*/ 1429966 h 150419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218133 w 7373566"/>
              <a:gd name="connsiteY5" fmla="*/ 11128 h 1515627"/>
              <a:gd name="connsiteX6" fmla="*/ 4669277 w 7373566"/>
              <a:gd name="connsiteY6" fmla="*/ 0 h 1515627"/>
              <a:gd name="connsiteX7" fmla="*/ 4786009 w 7373566"/>
              <a:gd name="connsiteY7" fmla="*/ 29183 h 1515627"/>
              <a:gd name="connsiteX8" fmla="*/ 6838545 w 7373566"/>
              <a:gd name="connsiteY8" fmla="*/ 1332690 h 1515627"/>
              <a:gd name="connsiteX9" fmla="*/ 7373566 w 7373566"/>
              <a:gd name="connsiteY9" fmla="*/ 1429966 h 1515627"/>
              <a:gd name="connsiteX10" fmla="*/ 7373566 w 7373566"/>
              <a:gd name="connsiteY10" fmla="*/ 1429966 h 1515627"/>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2025961"/>
              <a:gd name="connsiteX1" fmla="*/ 638265 w 7373566"/>
              <a:gd name="connsiteY1" fmla="*/ 2023026 h 2025961"/>
              <a:gd name="connsiteX2" fmla="*/ 1468877 w 7373566"/>
              <a:gd name="connsiteY2" fmla="*/ 1159469 h 2025961"/>
              <a:gd name="connsiteX3" fmla="*/ 3521413 w 7373566"/>
              <a:gd name="connsiteY3" fmla="*/ 342345 h 2025961"/>
              <a:gd name="connsiteX4" fmla="*/ 4007796 w 7373566"/>
              <a:gd name="connsiteY4" fmla="*/ 40788 h 2025961"/>
              <a:gd name="connsiteX5" fmla="*/ 4218133 w 7373566"/>
              <a:gd name="connsiteY5" fmla="*/ 13005 h 2025961"/>
              <a:gd name="connsiteX6" fmla="*/ 4669277 w 7373566"/>
              <a:gd name="connsiteY6" fmla="*/ 1877 h 2025961"/>
              <a:gd name="connsiteX7" fmla="*/ 4836015 w 7373566"/>
              <a:gd name="connsiteY7" fmla="*/ 57254 h 2025961"/>
              <a:gd name="connsiteX8" fmla="*/ 6838545 w 7373566"/>
              <a:gd name="connsiteY8" fmla="*/ 1334567 h 2025961"/>
              <a:gd name="connsiteX9" fmla="*/ 7373566 w 7373566"/>
              <a:gd name="connsiteY9" fmla="*/ 1431843 h 2025961"/>
              <a:gd name="connsiteX10" fmla="*/ 7373566 w 7373566"/>
              <a:gd name="connsiteY10" fmla="*/ 1431843 h 2025961"/>
              <a:gd name="connsiteX0" fmla="*/ 0 w 7349182"/>
              <a:gd name="connsiteY0" fmla="*/ 2079057 h 2087300"/>
              <a:gd name="connsiteX1" fmla="*/ 613881 w 7349182"/>
              <a:gd name="connsiteY1" fmla="*/ 2023026 h 2087300"/>
              <a:gd name="connsiteX2" fmla="*/ 1444493 w 7349182"/>
              <a:gd name="connsiteY2" fmla="*/ 1159469 h 2087300"/>
              <a:gd name="connsiteX3" fmla="*/ 3497029 w 7349182"/>
              <a:gd name="connsiteY3" fmla="*/ 342345 h 2087300"/>
              <a:gd name="connsiteX4" fmla="*/ 3983412 w 7349182"/>
              <a:gd name="connsiteY4" fmla="*/ 40788 h 2087300"/>
              <a:gd name="connsiteX5" fmla="*/ 4193749 w 7349182"/>
              <a:gd name="connsiteY5" fmla="*/ 13005 h 2087300"/>
              <a:gd name="connsiteX6" fmla="*/ 4644893 w 7349182"/>
              <a:gd name="connsiteY6" fmla="*/ 1877 h 2087300"/>
              <a:gd name="connsiteX7" fmla="*/ 4811631 w 7349182"/>
              <a:gd name="connsiteY7" fmla="*/ 57254 h 2087300"/>
              <a:gd name="connsiteX8" fmla="*/ 6814161 w 7349182"/>
              <a:gd name="connsiteY8" fmla="*/ 1334567 h 2087300"/>
              <a:gd name="connsiteX9" fmla="*/ 7349182 w 7349182"/>
              <a:gd name="connsiteY9" fmla="*/ 1431843 h 2087300"/>
              <a:gd name="connsiteX10" fmla="*/ 7349182 w 7349182"/>
              <a:gd name="connsiteY10" fmla="*/ 1431843 h 2087300"/>
              <a:gd name="connsiteX0" fmla="*/ 0 w 7349182"/>
              <a:gd name="connsiteY0" fmla="*/ 2079057 h 2087300"/>
              <a:gd name="connsiteX1" fmla="*/ 613881 w 7349182"/>
              <a:gd name="connsiteY1" fmla="*/ 2023026 h 2087300"/>
              <a:gd name="connsiteX2" fmla="*/ 1127728 w 7349182"/>
              <a:gd name="connsiteY2" fmla="*/ 1445816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27728 w 7349182"/>
              <a:gd name="connsiteY2" fmla="*/ 1445816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27728 w 7349182"/>
              <a:gd name="connsiteY3" fmla="*/ 1445816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286224 w 7349182"/>
              <a:gd name="connsiteY4" fmla="*/ 1299512 h 2087300"/>
              <a:gd name="connsiteX5" fmla="*/ 1444493 w 7349182"/>
              <a:gd name="connsiteY5" fmla="*/ 1159469 h 2087300"/>
              <a:gd name="connsiteX6" fmla="*/ 3497029 w 7349182"/>
              <a:gd name="connsiteY6" fmla="*/ 342345 h 2087300"/>
              <a:gd name="connsiteX7" fmla="*/ 3983412 w 7349182"/>
              <a:gd name="connsiteY7" fmla="*/ 40788 h 2087300"/>
              <a:gd name="connsiteX8" fmla="*/ 4193749 w 7349182"/>
              <a:gd name="connsiteY8" fmla="*/ 13005 h 2087300"/>
              <a:gd name="connsiteX9" fmla="*/ 4644893 w 7349182"/>
              <a:gd name="connsiteY9" fmla="*/ 1877 h 2087300"/>
              <a:gd name="connsiteX10" fmla="*/ 4811631 w 7349182"/>
              <a:gd name="connsiteY10" fmla="*/ 57254 h 2087300"/>
              <a:gd name="connsiteX11" fmla="*/ 6814161 w 7349182"/>
              <a:gd name="connsiteY11" fmla="*/ 1334567 h 2087300"/>
              <a:gd name="connsiteX12" fmla="*/ 7349182 w 7349182"/>
              <a:gd name="connsiteY12" fmla="*/ 1431843 h 2087300"/>
              <a:gd name="connsiteX13" fmla="*/ 7349182 w 7349182"/>
              <a:gd name="connsiteY13"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504750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504750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943662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288222 w 7349182"/>
              <a:gd name="connsiteY10" fmla="*/ 1949758 h 2160207"/>
              <a:gd name="connsiteX11" fmla="*/ 7349182 w 7349182"/>
              <a:gd name="connsiteY11" fmla="*/ 1943662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288222 w 7361374"/>
              <a:gd name="connsiteY10" fmla="*/ 1949758 h 2160207"/>
              <a:gd name="connsiteX11" fmla="*/ 7361374 w 7361374"/>
              <a:gd name="connsiteY11" fmla="*/ 1992430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288222 w 7361374"/>
              <a:gd name="connsiteY10" fmla="*/ 1949758 h 2160207"/>
              <a:gd name="connsiteX11" fmla="*/ 7361374 w 7361374"/>
              <a:gd name="connsiteY11" fmla="*/ 1992430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306510 w 7361374"/>
              <a:gd name="connsiteY10" fmla="*/ 1980238 h 2160207"/>
              <a:gd name="connsiteX11" fmla="*/ 7361374 w 7361374"/>
              <a:gd name="connsiteY11" fmla="*/ 1992430 h 2160207"/>
              <a:gd name="connsiteX0" fmla="*/ 0 w 7361374"/>
              <a:gd name="connsiteY0" fmla="*/ 2147055 h 2155298"/>
              <a:gd name="connsiteX1" fmla="*/ 613881 w 7361374"/>
              <a:gd name="connsiteY1" fmla="*/ 2091024 h 2155298"/>
              <a:gd name="connsiteX2" fmla="*/ 1164304 w 7361374"/>
              <a:gd name="connsiteY2" fmla="*/ 1556486 h 2155298"/>
              <a:gd name="connsiteX3" fmla="*/ 1444493 w 7361374"/>
              <a:gd name="connsiteY3" fmla="*/ 1227467 h 2155298"/>
              <a:gd name="connsiteX4" fmla="*/ 3497029 w 7361374"/>
              <a:gd name="connsiteY4" fmla="*/ 410343 h 2155298"/>
              <a:gd name="connsiteX5" fmla="*/ 3983412 w 7361374"/>
              <a:gd name="connsiteY5" fmla="*/ 108786 h 2155298"/>
              <a:gd name="connsiteX6" fmla="*/ 4193749 w 7361374"/>
              <a:gd name="connsiteY6" fmla="*/ 81003 h 2155298"/>
              <a:gd name="connsiteX7" fmla="*/ 4811631 w 7361374"/>
              <a:gd name="connsiteY7" fmla="*/ 125252 h 2155298"/>
              <a:gd name="connsiteX8" fmla="*/ 6680049 w 7361374"/>
              <a:gd name="connsiteY8" fmla="*/ 1609829 h 2155298"/>
              <a:gd name="connsiteX9" fmla="*/ 7306510 w 7361374"/>
              <a:gd name="connsiteY9" fmla="*/ 1975329 h 2155298"/>
              <a:gd name="connsiteX10" fmla="*/ 7361374 w 7361374"/>
              <a:gd name="connsiteY10" fmla="*/ 1987521 h 2155298"/>
              <a:gd name="connsiteX0" fmla="*/ 0 w 7361374"/>
              <a:gd name="connsiteY0" fmla="*/ 2147055 h 2155298"/>
              <a:gd name="connsiteX1" fmla="*/ 613881 w 7361374"/>
              <a:gd name="connsiteY1" fmla="*/ 2091024 h 2155298"/>
              <a:gd name="connsiteX2" fmla="*/ 1164304 w 7361374"/>
              <a:gd name="connsiteY2" fmla="*/ 1556486 h 2155298"/>
              <a:gd name="connsiteX3" fmla="*/ 1444493 w 7361374"/>
              <a:gd name="connsiteY3" fmla="*/ 1227467 h 2155298"/>
              <a:gd name="connsiteX4" fmla="*/ 3497029 w 7361374"/>
              <a:gd name="connsiteY4" fmla="*/ 410343 h 2155298"/>
              <a:gd name="connsiteX5" fmla="*/ 3983412 w 7361374"/>
              <a:gd name="connsiteY5" fmla="*/ 108786 h 2155298"/>
              <a:gd name="connsiteX6" fmla="*/ 4193749 w 7361374"/>
              <a:gd name="connsiteY6" fmla="*/ 81003 h 2155298"/>
              <a:gd name="connsiteX7" fmla="*/ 4811631 w 7361374"/>
              <a:gd name="connsiteY7" fmla="*/ 125252 h 2155298"/>
              <a:gd name="connsiteX8" fmla="*/ 6680049 w 7361374"/>
              <a:gd name="connsiteY8" fmla="*/ 1609829 h 2155298"/>
              <a:gd name="connsiteX9" fmla="*/ 7306510 w 7361374"/>
              <a:gd name="connsiteY9" fmla="*/ 1975329 h 2155298"/>
              <a:gd name="connsiteX10" fmla="*/ 7361374 w 7361374"/>
              <a:gd name="connsiteY10" fmla="*/ 1987521 h 2155298"/>
              <a:gd name="connsiteX0" fmla="*/ 0 w 7361374"/>
              <a:gd name="connsiteY0" fmla="*/ 2125687 h 2133930"/>
              <a:gd name="connsiteX1" fmla="*/ 613881 w 7361374"/>
              <a:gd name="connsiteY1" fmla="*/ 2069656 h 2133930"/>
              <a:gd name="connsiteX2" fmla="*/ 1164304 w 7361374"/>
              <a:gd name="connsiteY2" fmla="*/ 1535118 h 2133930"/>
              <a:gd name="connsiteX3" fmla="*/ 1444493 w 7361374"/>
              <a:gd name="connsiteY3" fmla="*/ 1206099 h 2133930"/>
              <a:gd name="connsiteX4" fmla="*/ 3497029 w 7361374"/>
              <a:gd name="connsiteY4" fmla="*/ 388975 h 2133930"/>
              <a:gd name="connsiteX5" fmla="*/ 3983412 w 7361374"/>
              <a:gd name="connsiteY5" fmla="*/ 87418 h 2133930"/>
              <a:gd name="connsiteX6" fmla="*/ 4193749 w 7361374"/>
              <a:gd name="connsiteY6" fmla="*/ 59635 h 2133930"/>
              <a:gd name="connsiteX7" fmla="*/ 4811631 w 7361374"/>
              <a:gd name="connsiteY7" fmla="*/ 103884 h 2133930"/>
              <a:gd name="connsiteX8" fmla="*/ 6680049 w 7361374"/>
              <a:gd name="connsiteY8" fmla="*/ 1588461 h 2133930"/>
              <a:gd name="connsiteX9" fmla="*/ 7306510 w 7361374"/>
              <a:gd name="connsiteY9" fmla="*/ 1953961 h 2133930"/>
              <a:gd name="connsiteX10" fmla="*/ 7361374 w 7361374"/>
              <a:gd name="connsiteY10" fmla="*/ 1966153 h 2133930"/>
              <a:gd name="connsiteX0" fmla="*/ 0 w 7361374"/>
              <a:gd name="connsiteY0" fmla="*/ 2074904 h 2083147"/>
              <a:gd name="connsiteX1" fmla="*/ 613881 w 7361374"/>
              <a:gd name="connsiteY1" fmla="*/ 2018873 h 2083147"/>
              <a:gd name="connsiteX2" fmla="*/ 1164304 w 7361374"/>
              <a:gd name="connsiteY2" fmla="*/ 1484335 h 2083147"/>
              <a:gd name="connsiteX3" fmla="*/ 1444493 w 7361374"/>
              <a:gd name="connsiteY3" fmla="*/ 1155316 h 2083147"/>
              <a:gd name="connsiteX4" fmla="*/ 3497029 w 7361374"/>
              <a:gd name="connsiteY4" fmla="*/ 338192 h 2083147"/>
              <a:gd name="connsiteX5" fmla="*/ 3983412 w 7361374"/>
              <a:gd name="connsiteY5" fmla="*/ 36635 h 2083147"/>
              <a:gd name="connsiteX6" fmla="*/ 4193749 w 7361374"/>
              <a:gd name="connsiteY6" fmla="*/ 8852 h 2083147"/>
              <a:gd name="connsiteX7" fmla="*/ 4811631 w 7361374"/>
              <a:gd name="connsiteY7" fmla="*/ 53101 h 2083147"/>
              <a:gd name="connsiteX8" fmla="*/ 6680049 w 7361374"/>
              <a:gd name="connsiteY8" fmla="*/ 1537678 h 2083147"/>
              <a:gd name="connsiteX9" fmla="*/ 7306510 w 7361374"/>
              <a:gd name="connsiteY9" fmla="*/ 1903178 h 2083147"/>
              <a:gd name="connsiteX10" fmla="*/ 7361374 w 7361374"/>
              <a:gd name="connsiteY10" fmla="*/ 1915370 h 2083147"/>
              <a:gd name="connsiteX0" fmla="*/ 0 w 7361374"/>
              <a:gd name="connsiteY0" fmla="*/ 2084513 h 2092756"/>
              <a:gd name="connsiteX1" fmla="*/ 613881 w 7361374"/>
              <a:gd name="connsiteY1" fmla="*/ 2028482 h 2092756"/>
              <a:gd name="connsiteX2" fmla="*/ 1164304 w 7361374"/>
              <a:gd name="connsiteY2" fmla="*/ 1493944 h 2092756"/>
              <a:gd name="connsiteX3" fmla="*/ 1444493 w 7361374"/>
              <a:gd name="connsiteY3" fmla="*/ 1164925 h 2092756"/>
              <a:gd name="connsiteX4" fmla="*/ 3497029 w 7361374"/>
              <a:gd name="connsiteY4" fmla="*/ 347801 h 2092756"/>
              <a:gd name="connsiteX5" fmla="*/ 3983412 w 7361374"/>
              <a:gd name="connsiteY5" fmla="*/ 46244 h 2092756"/>
              <a:gd name="connsiteX6" fmla="*/ 4193749 w 7361374"/>
              <a:gd name="connsiteY6" fmla="*/ 18461 h 2092756"/>
              <a:gd name="connsiteX7" fmla="*/ 4811631 w 7361374"/>
              <a:gd name="connsiteY7" fmla="*/ 62710 h 2092756"/>
              <a:gd name="connsiteX8" fmla="*/ 6680049 w 7361374"/>
              <a:gd name="connsiteY8" fmla="*/ 1547287 h 2092756"/>
              <a:gd name="connsiteX9" fmla="*/ 7306510 w 7361374"/>
              <a:gd name="connsiteY9" fmla="*/ 1912787 h 2092756"/>
              <a:gd name="connsiteX10" fmla="*/ 7361374 w 7361374"/>
              <a:gd name="connsiteY10" fmla="*/ 1924979 h 2092756"/>
              <a:gd name="connsiteX0" fmla="*/ 0 w 7361374"/>
              <a:gd name="connsiteY0" fmla="*/ 2084513 h 2092756"/>
              <a:gd name="connsiteX1" fmla="*/ 613881 w 7361374"/>
              <a:gd name="connsiteY1" fmla="*/ 2028482 h 2092756"/>
              <a:gd name="connsiteX2" fmla="*/ 1164304 w 7361374"/>
              <a:gd name="connsiteY2" fmla="*/ 1493944 h 2092756"/>
              <a:gd name="connsiteX3" fmla="*/ 1444493 w 7361374"/>
              <a:gd name="connsiteY3" fmla="*/ 1164925 h 2092756"/>
              <a:gd name="connsiteX4" fmla="*/ 3497029 w 7361374"/>
              <a:gd name="connsiteY4" fmla="*/ 347801 h 2092756"/>
              <a:gd name="connsiteX5" fmla="*/ 3983412 w 7361374"/>
              <a:gd name="connsiteY5" fmla="*/ 46244 h 2092756"/>
              <a:gd name="connsiteX6" fmla="*/ 4193749 w 7361374"/>
              <a:gd name="connsiteY6" fmla="*/ 18461 h 2092756"/>
              <a:gd name="connsiteX7" fmla="*/ 4811631 w 7361374"/>
              <a:gd name="connsiteY7" fmla="*/ 62710 h 2092756"/>
              <a:gd name="connsiteX8" fmla="*/ 6680049 w 7361374"/>
              <a:gd name="connsiteY8" fmla="*/ 1547287 h 2092756"/>
              <a:gd name="connsiteX9" fmla="*/ 7361374 w 7361374"/>
              <a:gd name="connsiteY9" fmla="*/ 1924979 h 2092756"/>
              <a:gd name="connsiteX0" fmla="*/ 0 w 8926014"/>
              <a:gd name="connsiteY0" fmla="*/ 5403214 h 5403346"/>
              <a:gd name="connsiteX1" fmla="*/ 2178521 w 8926014"/>
              <a:gd name="connsiteY1" fmla="*/ 2028482 h 5403346"/>
              <a:gd name="connsiteX2" fmla="*/ 2728944 w 8926014"/>
              <a:gd name="connsiteY2" fmla="*/ 1493944 h 5403346"/>
              <a:gd name="connsiteX3" fmla="*/ 3009133 w 8926014"/>
              <a:gd name="connsiteY3" fmla="*/ 1164925 h 5403346"/>
              <a:gd name="connsiteX4" fmla="*/ 5061669 w 8926014"/>
              <a:gd name="connsiteY4" fmla="*/ 347801 h 5403346"/>
              <a:gd name="connsiteX5" fmla="*/ 5548052 w 8926014"/>
              <a:gd name="connsiteY5" fmla="*/ 46244 h 5403346"/>
              <a:gd name="connsiteX6" fmla="*/ 5758389 w 8926014"/>
              <a:gd name="connsiteY6" fmla="*/ 18461 h 5403346"/>
              <a:gd name="connsiteX7" fmla="*/ 6376271 w 8926014"/>
              <a:gd name="connsiteY7" fmla="*/ 62710 h 5403346"/>
              <a:gd name="connsiteX8" fmla="*/ 8244689 w 8926014"/>
              <a:gd name="connsiteY8" fmla="*/ 1547287 h 5403346"/>
              <a:gd name="connsiteX9" fmla="*/ 8926014 w 8926014"/>
              <a:gd name="connsiteY9" fmla="*/ 1924979 h 5403346"/>
              <a:gd name="connsiteX0" fmla="*/ 0 w 8926014"/>
              <a:gd name="connsiteY0" fmla="*/ 5403214 h 5403491"/>
              <a:gd name="connsiteX1" fmla="*/ 2566220 w 8926014"/>
              <a:gd name="connsiteY1" fmla="*/ 3793341 h 5403491"/>
              <a:gd name="connsiteX2" fmla="*/ 2728944 w 8926014"/>
              <a:gd name="connsiteY2" fmla="*/ 1493944 h 5403491"/>
              <a:gd name="connsiteX3" fmla="*/ 3009133 w 8926014"/>
              <a:gd name="connsiteY3" fmla="*/ 1164925 h 5403491"/>
              <a:gd name="connsiteX4" fmla="*/ 5061669 w 8926014"/>
              <a:gd name="connsiteY4" fmla="*/ 347801 h 5403491"/>
              <a:gd name="connsiteX5" fmla="*/ 5548052 w 8926014"/>
              <a:gd name="connsiteY5" fmla="*/ 46244 h 5403491"/>
              <a:gd name="connsiteX6" fmla="*/ 5758389 w 8926014"/>
              <a:gd name="connsiteY6" fmla="*/ 18461 h 5403491"/>
              <a:gd name="connsiteX7" fmla="*/ 6376271 w 8926014"/>
              <a:gd name="connsiteY7" fmla="*/ 62710 h 5403491"/>
              <a:gd name="connsiteX8" fmla="*/ 8244689 w 8926014"/>
              <a:gd name="connsiteY8" fmla="*/ 1547287 h 5403491"/>
              <a:gd name="connsiteX9" fmla="*/ 8926014 w 8926014"/>
              <a:gd name="connsiteY9" fmla="*/ 1924979 h 5403491"/>
              <a:gd name="connsiteX0" fmla="*/ 0 w 8926014"/>
              <a:gd name="connsiteY0" fmla="*/ 5403214 h 5403491"/>
              <a:gd name="connsiteX1" fmla="*/ 2566220 w 8926014"/>
              <a:gd name="connsiteY1" fmla="*/ 3793341 h 5403491"/>
              <a:gd name="connsiteX2" fmla="*/ 3009133 w 8926014"/>
              <a:gd name="connsiteY2" fmla="*/ 1164925 h 5403491"/>
              <a:gd name="connsiteX3" fmla="*/ 5061669 w 8926014"/>
              <a:gd name="connsiteY3" fmla="*/ 347801 h 5403491"/>
              <a:gd name="connsiteX4" fmla="*/ 5548052 w 8926014"/>
              <a:gd name="connsiteY4" fmla="*/ 46244 h 5403491"/>
              <a:gd name="connsiteX5" fmla="*/ 5758389 w 8926014"/>
              <a:gd name="connsiteY5" fmla="*/ 18461 h 5403491"/>
              <a:gd name="connsiteX6" fmla="*/ 6376271 w 8926014"/>
              <a:gd name="connsiteY6" fmla="*/ 62710 h 5403491"/>
              <a:gd name="connsiteX7" fmla="*/ 8244689 w 8926014"/>
              <a:gd name="connsiteY7" fmla="*/ 1547287 h 5403491"/>
              <a:gd name="connsiteX8" fmla="*/ 8926014 w 8926014"/>
              <a:gd name="connsiteY8" fmla="*/ 1924979 h 5403491"/>
              <a:gd name="connsiteX0" fmla="*/ 0 w 8926014"/>
              <a:gd name="connsiteY0" fmla="*/ 5403214 h 5403491"/>
              <a:gd name="connsiteX1" fmla="*/ 2566220 w 8926014"/>
              <a:gd name="connsiteY1" fmla="*/ 3793341 h 5403491"/>
              <a:gd name="connsiteX2" fmla="*/ 5061669 w 8926014"/>
              <a:gd name="connsiteY2" fmla="*/ 347801 h 5403491"/>
              <a:gd name="connsiteX3" fmla="*/ 5548052 w 8926014"/>
              <a:gd name="connsiteY3" fmla="*/ 46244 h 5403491"/>
              <a:gd name="connsiteX4" fmla="*/ 5758389 w 8926014"/>
              <a:gd name="connsiteY4" fmla="*/ 18461 h 5403491"/>
              <a:gd name="connsiteX5" fmla="*/ 6376271 w 8926014"/>
              <a:gd name="connsiteY5" fmla="*/ 62710 h 5403491"/>
              <a:gd name="connsiteX6" fmla="*/ 8244689 w 8926014"/>
              <a:gd name="connsiteY6" fmla="*/ 1547287 h 5403491"/>
              <a:gd name="connsiteX7" fmla="*/ 8926014 w 8926014"/>
              <a:gd name="connsiteY7" fmla="*/ 1924979 h 5403491"/>
              <a:gd name="connsiteX0" fmla="*/ 0 w 8926014"/>
              <a:gd name="connsiteY0" fmla="*/ 5403214 h 5403491"/>
              <a:gd name="connsiteX1" fmla="*/ 2566220 w 8926014"/>
              <a:gd name="connsiteY1" fmla="*/ 3793341 h 5403491"/>
              <a:gd name="connsiteX2" fmla="*/ 5548052 w 8926014"/>
              <a:gd name="connsiteY2" fmla="*/ 46244 h 5403491"/>
              <a:gd name="connsiteX3" fmla="*/ 5758389 w 8926014"/>
              <a:gd name="connsiteY3" fmla="*/ 18461 h 5403491"/>
              <a:gd name="connsiteX4" fmla="*/ 6376271 w 8926014"/>
              <a:gd name="connsiteY4" fmla="*/ 62710 h 5403491"/>
              <a:gd name="connsiteX5" fmla="*/ 8244689 w 8926014"/>
              <a:gd name="connsiteY5" fmla="*/ 1547287 h 5403491"/>
              <a:gd name="connsiteX6" fmla="*/ 8926014 w 8926014"/>
              <a:gd name="connsiteY6" fmla="*/ 1924979 h 5403491"/>
              <a:gd name="connsiteX0" fmla="*/ 0 w 8926014"/>
              <a:gd name="connsiteY0" fmla="*/ 5403214 h 5403491"/>
              <a:gd name="connsiteX1" fmla="*/ 2566220 w 8926014"/>
              <a:gd name="connsiteY1" fmla="*/ 3793341 h 5403491"/>
              <a:gd name="connsiteX2" fmla="*/ 5758389 w 8926014"/>
              <a:gd name="connsiteY2" fmla="*/ 18461 h 5403491"/>
              <a:gd name="connsiteX3" fmla="*/ 6376271 w 8926014"/>
              <a:gd name="connsiteY3" fmla="*/ 62710 h 5403491"/>
              <a:gd name="connsiteX4" fmla="*/ 8244689 w 8926014"/>
              <a:gd name="connsiteY4" fmla="*/ 1547287 h 5403491"/>
              <a:gd name="connsiteX5" fmla="*/ 8926014 w 8926014"/>
              <a:gd name="connsiteY5" fmla="*/ 1924979 h 5403491"/>
              <a:gd name="connsiteX0" fmla="*/ 0 w 8926014"/>
              <a:gd name="connsiteY0" fmla="*/ 5395881 h 5396158"/>
              <a:gd name="connsiteX1" fmla="*/ 2566220 w 8926014"/>
              <a:gd name="connsiteY1" fmla="*/ 3786008 h 5396158"/>
              <a:gd name="connsiteX2" fmla="*/ 6376271 w 8926014"/>
              <a:gd name="connsiteY2" fmla="*/ 55377 h 5396158"/>
              <a:gd name="connsiteX3" fmla="*/ 8244689 w 8926014"/>
              <a:gd name="connsiteY3" fmla="*/ 1539954 h 5396158"/>
              <a:gd name="connsiteX4" fmla="*/ 8926014 w 8926014"/>
              <a:gd name="connsiteY4" fmla="*/ 1917646 h 5396158"/>
              <a:gd name="connsiteX0" fmla="*/ 0 w 8926014"/>
              <a:gd name="connsiteY0" fmla="*/ 3855927 h 3856204"/>
              <a:gd name="connsiteX1" fmla="*/ 2566220 w 8926014"/>
              <a:gd name="connsiteY1" fmla="*/ 2246054 h 3856204"/>
              <a:gd name="connsiteX2" fmla="*/ 8244689 w 8926014"/>
              <a:gd name="connsiteY2" fmla="*/ 0 h 3856204"/>
              <a:gd name="connsiteX3" fmla="*/ 8926014 w 8926014"/>
              <a:gd name="connsiteY3" fmla="*/ 377692 h 3856204"/>
              <a:gd name="connsiteX0" fmla="*/ 0 w 8926014"/>
              <a:gd name="connsiteY0" fmla="*/ 3478234 h 3478511"/>
              <a:gd name="connsiteX1" fmla="*/ 2566220 w 8926014"/>
              <a:gd name="connsiteY1" fmla="*/ 1868361 h 3478511"/>
              <a:gd name="connsiteX2" fmla="*/ 8926014 w 8926014"/>
              <a:gd name="connsiteY2" fmla="*/ -1 h 3478511"/>
              <a:gd name="connsiteX0" fmla="*/ 0 w 2566220"/>
              <a:gd name="connsiteY0" fmla="*/ 1609873 h 1610150"/>
              <a:gd name="connsiteX1" fmla="*/ 2566220 w 2566220"/>
              <a:gd name="connsiteY1" fmla="*/ 0 h 1610150"/>
              <a:gd name="connsiteX0" fmla="*/ 0 w 2669845"/>
              <a:gd name="connsiteY0" fmla="*/ 1571495 h 1571778"/>
              <a:gd name="connsiteX1" fmla="*/ 2669845 w 2669845"/>
              <a:gd name="connsiteY1" fmla="*/ 0 h 1571778"/>
              <a:gd name="connsiteX0" fmla="*/ 0 w 2669845"/>
              <a:gd name="connsiteY0" fmla="*/ 1594522 h 1594801"/>
              <a:gd name="connsiteX1" fmla="*/ 2669845 w 2669845"/>
              <a:gd name="connsiteY1" fmla="*/ 0 h 1594801"/>
              <a:gd name="connsiteX0" fmla="*/ 0 w 2669845"/>
              <a:gd name="connsiteY0" fmla="*/ 1602921 h 1603170"/>
              <a:gd name="connsiteX1" fmla="*/ 2669845 w 2669845"/>
              <a:gd name="connsiteY1" fmla="*/ 8399 h 1603170"/>
              <a:gd name="connsiteX0" fmla="*/ 0 w 2700933"/>
              <a:gd name="connsiteY0" fmla="*/ 1557081 h 1557336"/>
              <a:gd name="connsiteX1" fmla="*/ 2700933 w 2700933"/>
              <a:gd name="connsiteY1" fmla="*/ 8613 h 1557336"/>
              <a:gd name="connsiteX0" fmla="*/ 0 w 2669845"/>
              <a:gd name="connsiteY0" fmla="*/ 1648772 h 1649016"/>
              <a:gd name="connsiteX1" fmla="*/ 2669845 w 2669845"/>
              <a:gd name="connsiteY1" fmla="*/ 8198 h 1649016"/>
              <a:gd name="connsiteX0" fmla="*/ 0 w 2669845"/>
              <a:gd name="connsiteY0" fmla="*/ 1649515 h 1649516"/>
              <a:gd name="connsiteX1" fmla="*/ 2669845 w 2669845"/>
              <a:gd name="connsiteY1" fmla="*/ 8941 h 1649516"/>
              <a:gd name="connsiteX0" fmla="*/ 0 w 2669845"/>
              <a:gd name="connsiteY0" fmla="*/ 1640574 h 1640575"/>
              <a:gd name="connsiteX1" fmla="*/ 2669845 w 2669845"/>
              <a:gd name="connsiteY1" fmla="*/ 0 h 1640575"/>
              <a:gd name="connsiteX0" fmla="*/ 0 w 2671421"/>
              <a:gd name="connsiteY0" fmla="*/ 1640574 h 1640575"/>
              <a:gd name="connsiteX1" fmla="*/ 2671421 w 2671421"/>
              <a:gd name="connsiteY1" fmla="*/ 12849 h 1640575"/>
              <a:gd name="connsiteX2" fmla="*/ 2669845 w 2671421"/>
              <a:gd name="connsiteY2" fmla="*/ 0 h 1640575"/>
              <a:gd name="connsiteX0" fmla="*/ 0 w 2640333"/>
              <a:gd name="connsiteY0" fmla="*/ 1640575 h 1640575"/>
              <a:gd name="connsiteX1" fmla="*/ 2640333 w 2640333"/>
              <a:gd name="connsiteY1" fmla="*/ 12849 h 1640575"/>
              <a:gd name="connsiteX2" fmla="*/ 2638757 w 2640333"/>
              <a:gd name="connsiteY2" fmla="*/ 0 h 1640575"/>
              <a:gd name="connsiteX0" fmla="*/ 0 w 2640333"/>
              <a:gd name="connsiteY0" fmla="*/ 1640575 h 1640575"/>
              <a:gd name="connsiteX1" fmla="*/ 2640333 w 2640333"/>
              <a:gd name="connsiteY1" fmla="*/ 12849 h 1640575"/>
              <a:gd name="connsiteX2" fmla="*/ 2638757 w 2640333"/>
              <a:gd name="connsiteY2" fmla="*/ 0 h 1640575"/>
              <a:gd name="connsiteX0" fmla="*/ 0 w 2640333"/>
              <a:gd name="connsiteY0" fmla="*/ 1916895 h 1916895"/>
              <a:gd name="connsiteX1" fmla="*/ 2640333 w 2640333"/>
              <a:gd name="connsiteY1" fmla="*/ 289169 h 1916895"/>
              <a:gd name="connsiteX2" fmla="*/ 1379712 w 2640333"/>
              <a:gd name="connsiteY2" fmla="*/ 0 h 1916895"/>
              <a:gd name="connsiteX0" fmla="*/ 0 w 2640333"/>
              <a:gd name="connsiteY0" fmla="*/ 1627726 h 1627726"/>
              <a:gd name="connsiteX1" fmla="*/ 2640333 w 2640333"/>
              <a:gd name="connsiteY1" fmla="*/ 0 h 1627726"/>
              <a:gd name="connsiteX0" fmla="*/ 0 w 2655877"/>
              <a:gd name="connsiteY0" fmla="*/ 1589348 h 1589348"/>
              <a:gd name="connsiteX1" fmla="*/ 2655877 w 2655877"/>
              <a:gd name="connsiteY1" fmla="*/ 0 h 1589348"/>
              <a:gd name="connsiteX0" fmla="*/ 0 w 2655877"/>
              <a:gd name="connsiteY0" fmla="*/ 1589348 h 1589348"/>
              <a:gd name="connsiteX1" fmla="*/ 2655877 w 2655877"/>
              <a:gd name="connsiteY1" fmla="*/ 0 h 1589348"/>
              <a:gd name="connsiteX0" fmla="*/ 3087 w 2658964"/>
              <a:gd name="connsiteY0" fmla="*/ 1589348 h 1650245"/>
              <a:gd name="connsiteX1" fmla="*/ 981 w 2658964"/>
              <a:gd name="connsiteY1" fmla="*/ 1650245 h 1650245"/>
              <a:gd name="connsiteX2" fmla="*/ 2658964 w 2658964"/>
              <a:gd name="connsiteY2" fmla="*/ 0 h 1650245"/>
              <a:gd name="connsiteX0" fmla="*/ 261236 w 2917113"/>
              <a:gd name="connsiteY0" fmla="*/ 1589348 h 1755988"/>
              <a:gd name="connsiteX1" fmla="*/ 75077 w 2917113"/>
              <a:gd name="connsiteY1" fmla="*/ 1585086 h 1755988"/>
              <a:gd name="connsiteX2" fmla="*/ 259130 w 2917113"/>
              <a:gd name="connsiteY2" fmla="*/ 1650245 h 1755988"/>
              <a:gd name="connsiteX3" fmla="*/ 2917113 w 2917113"/>
              <a:gd name="connsiteY3" fmla="*/ 0 h 1755988"/>
              <a:gd name="connsiteX0" fmla="*/ 75077 w 2917113"/>
              <a:gd name="connsiteY0" fmla="*/ 1585086 h 1755988"/>
              <a:gd name="connsiteX1" fmla="*/ 259130 w 2917113"/>
              <a:gd name="connsiteY1" fmla="*/ 1650245 h 1755988"/>
              <a:gd name="connsiteX2" fmla="*/ 2917113 w 2917113"/>
              <a:gd name="connsiteY2" fmla="*/ 0 h 1755988"/>
              <a:gd name="connsiteX0" fmla="*/ 1 w 2842037"/>
              <a:gd name="connsiteY0" fmla="*/ 1585086 h 1650245"/>
              <a:gd name="connsiteX1" fmla="*/ 184054 w 2842037"/>
              <a:gd name="connsiteY1" fmla="*/ 1650245 h 1650245"/>
              <a:gd name="connsiteX2" fmla="*/ 2842037 w 2842037"/>
              <a:gd name="connsiteY2" fmla="*/ 0 h 1650245"/>
              <a:gd name="connsiteX0" fmla="*/ 1 w 2842037"/>
              <a:gd name="connsiteY0" fmla="*/ 1585086 h 1606818"/>
              <a:gd name="connsiteX1" fmla="*/ 203842 w 2842037"/>
              <a:gd name="connsiteY1" fmla="*/ 1606818 h 1606818"/>
              <a:gd name="connsiteX2" fmla="*/ 2842037 w 2842037"/>
              <a:gd name="connsiteY2" fmla="*/ 0 h 1606818"/>
              <a:gd name="connsiteX0" fmla="*/ 1 w 2842037"/>
              <a:gd name="connsiteY0" fmla="*/ 1585086 h 1606818"/>
              <a:gd name="connsiteX1" fmla="*/ 203842 w 2842037"/>
              <a:gd name="connsiteY1" fmla="*/ 1606818 h 1606818"/>
              <a:gd name="connsiteX2" fmla="*/ 2842037 w 2842037"/>
              <a:gd name="connsiteY2" fmla="*/ 0 h 1606818"/>
              <a:gd name="connsiteX0" fmla="*/ 1 w 2842037"/>
              <a:gd name="connsiteY0" fmla="*/ 1585086 h 1606818"/>
              <a:gd name="connsiteX1" fmla="*/ 203842 w 2842037"/>
              <a:gd name="connsiteY1" fmla="*/ 1606818 h 1606818"/>
              <a:gd name="connsiteX2" fmla="*/ 2842037 w 2842037"/>
              <a:gd name="connsiteY2" fmla="*/ 0 h 1606818"/>
              <a:gd name="connsiteX0" fmla="*/ 10879 w 2647615"/>
              <a:gd name="connsiteY0" fmla="*/ 1603180 h 1606966"/>
              <a:gd name="connsiteX1" fmla="*/ 9420 w 2647615"/>
              <a:gd name="connsiteY1" fmla="*/ 1606818 h 1606966"/>
              <a:gd name="connsiteX2" fmla="*/ 2647615 w 2647615"/>
              <a:gd name="connsiteY2" fmla="*/ 0 h 1606966"/>
              <a:gd name="connsiteX0" fmla="*/ 2 w 2636738"/>
              <a:gd name="connsiteY0" fmla="*/ 1603180 h 1604451"/>
              <a:gd name="connsiteX1" fmla="*/ 99956 w 2636738"/>
              <a:gd name="connsiteY1" fmla="*/ 1567010 h 1604451"/>
              <a:gd name="connsiteX2" fmla="*/ 2636738 w 2636738"/>
              <a:gd name="connsiteY2" fmla="*/ 0 h 1604451"/>
              <a:gd name="connsiteX0" fmla="*/ 0 w 2536782"/>
              <a:gd name="connsiteY0" fmla="*/ 1567010 h 1567010"/>
              <a:gd name="connsiteX1" fmla="*/ 2536782 w 2536782"/>
              <a:gd name="connsiteY1" fmla="*/ 0 h 1567010"/>
              <a:gd name="connsiteX0" fmla="*/ 0 w 2539296"/>
              <a:gd name="connsiteY0" fmla="*/ 1534257 h 1534257"/>
              <a:gd name="connsiteX1" fmla="*/ 2539296 w 2539296"/>
              <a:gd name="connsiteY1" fmla="*/ 0 h 1534257"/>
              <a:gd name="connsiteX0" fmla="*/ 0 w 2539296"/>
              <a:gd name="connsiteY0" fmla="*/ 1534257 h 1534257"/>
              <a:gd name="connsiteX1" fmla="*/ 2539296 w 2539296"/>
              <a:gd name="connsiteY1" fmla="*/ 0 h 1534257"/>
              <a:gd name="connsiteX0" fmla="*/ 0 w 2539296"/>
              <a:gd name="connsiteY0" fmla="*/ 1534257 h 1534257"/>
              <a:gd name="connsiteX1" fmla="*/ 2539296 w 2539296"/>
              <a:gd name="connsiteY1" fmla="*/ 0 h 1534257"/>
              <a:gd name="connsiteX0" fmla="*/ 0 w 2646148"/>
              <a:gd name="connsiteY0" fmla="*/ 1579746 h 1579746"/>
              <a:gd name="connsiteX1" fmla="*/ 2646148 w 2646148"/>
              <a:gd name="connsiteY1" fmla="*/ 0 h 1579746"/>
              <a:gd name="connsiteX0" fmla="*/ 0 w 2633577"/>
              <a:gd name="connsiteY0" fmla="*/ 1534255 h 1534255"/>
              <a:gd name="connsiteX1" fmla="*/ 2633577 w 2633577"/>
              <a:gd name="connsiteY1" fmla="*/ 0 h 1534255"/>
              <a:gd name="connsiteX0" fmla="*/ 0 w 2621006"/>
              <a:gd name="connsiteY0" fmla="*/ 1543352 h 1543352"/>
              <a:gd name="connsiteX1" fmla="*/ 2621006 w 2621006"/>
              <a:gd name="connsiteY1" fmla="*/ 0 h 1543352"/>
              <a:gd name="connsiteX0" fmla="*/ 0 w 2621006"/>
              <a:gd name="connsiteY0" fmla="*/ 1543352 h 1543352"/>
              <a:gd name="connsiteX1" fmla="*/ 2621006 w 2621006"/>
              <a:gd name="connsiteY1" fmla="*/ 0 h 1543352"/>
              <a:gd name="connsiteX0" fmla="*/ 0 w 2614720"/>
              <a:gd name="connsiteY0" fmla="*/ 1579744 h 1579744"/>
              <a:gd name="connsiteX1" fmla="*/ 2614720 w 2614720"/>
              <a:gd name="connsiteY1" fmla="*/ 0 h 1579744"/>
              <a:gd name="connsiteX0" fmla="*/ 0 w 2614720"/>
              <a:gd name="connsiteY0" fmla="*/ 1579744 h 1579744"/>
              <a:gd name="connsiteX1" fmla="*/ 2614720 w 2614720"/>
              <a:gd name="connsiteY1" fmla="*/ 0 h 1579744"/>
              <a:gd name="connsiteX0" fmla="*/ 0 w 2614720"/>
              <a:gd name="connsiteY0" fmla="*/ 1579744 h 1579744"/>
              <a:gd name="connsiteX1" fmla="*/ 108330 w 2614720"/>
              <a:gd name="connsiteY1" fmla="*/ 1470551 h 1579744"/>
              <a:gd name="connsiteX2" fmla="*/ 2614720 w 2614720"/>
              <a:gd name="connsiteY2" fmla="*/ 0 h 1579744"/>
              <a:gd name="connsiteX0" fmla="*/ 0 w 2614720"/>
              <a:gd name="connsiteY0" fmla="*/ 1579744 h 1579744"/>
              <a:gd name="connsiteX1" fmla="*/ 45476 w 2614720"/>
              <a:gd name="connsiteY1" fmla="*/ 1479650 h 1579744"/>
              <a:gd name="connsiteX2" fmla="*/ 2614720 w 2614720"/>
              <a:gd name="connsiteY2" fmla="*/ 0 h 1579744"/>
              <a:gd name="connsiteX0" fmla="*/ 0 w 2614720"/>
              <a:gd name="connsiteY0" fmla="*/ 1579744 h 1579744"/>
              <a:gd name="connsiteX1" fmla="*/ 45476 w 2614720"/>
              <a:gd name="connsiteY1" fmla="*/ 1479650 h 1579744"/>
              <a:gd name="connsiteX2" fmla="*/ 2614720 w 2614720"/>
              <a:gd name="connsiteY2" fmla="*/ 0 h 1579744"/>
              <a:gd name="connsiteX0" fmla="*/ 0 w 2614720"/>
              <a:gd name="connsiteY0" fmla="*/ 1579744 h 1579744"/>
              <a:gd name="connsiteX1" fmla="*/ 83189 w 2614720"/>
              <a:gd name="connsiteY1" fmla="*/ 1461454 h 1579744"/>
              <a:gd name="connsiteX2" fmla="*/ 2614720 w 2614720"/>
              <a:gd name="connsiteY2" fmla="*/ 0 h 1579744"/>
              <a:gd name="connsiteX0" fmla="*/ 0 w 2614720"/>
              <a:gd name="connsiteY0" fmla="*/ 1579744 h 1579744"/>
              <a:gd name="connsiteX1" fmla="*/ 164899 w 2614720"/>
              <a:gd name="connsiteY1" fmla="*/ 1397769 h 1579744"/>
              <a:gd name="connsiteX2" fmla="*/ 2614720 w 2614720"/>
              <a:gd name="connsiteY2" fmla="*/ 0 h 1579744"/>
              <a:gd name="connsiteX0" fmla="*/ 0 w 2639862"/>
              <a:gd name="connsiteY0" fmla="*/ 1561548 h 1561548"/>
              <a:gd name="connsiteX1" fmla="*/ 190041 w 2639862"/>
              <a:gd name="connsiteY1" fmla="*/ 1397769 h 1561548"/>
              <a:gd name="connsiteX2" fmla="*/ 2639862 w 2639862"/>
              <a:gd name="connsiteY2" fmla="*/ 0 h 1561548"/>
            </a:gdLst>
            <a:ahLst/>
            <a:cxnLst>
              <a:cxn ang="0">
                <a:pos x="connsiteX0" y="connsiteY0"/>
              </a:cxn>
              <a:cxn ang="0">
                <a:pos x="connsiteX1" y="connsiteY1"/>
              </a:cxn>
              <a:cxn ang="0">
                <a:pos x="connsiteX2" y="connsiteY2"/>
              </a:cxn>
            </a:cxnLst>
            <a:rect l="l" t="t" r="r" b="b"/>
            <a:pathLst>
              <a:path w="2639862" h="1561548">
                <a:moveTo>
                  <a:pt x="0" y="1561548"/>
                </a:moveTo>
                <a:lnTo>
                  <a:pt x="190041" y="1397769"/>
                </a:lnTo>
                <a:cubicBezTo>
                  <a:pt x="395953" y="1196425"/>
                  <a:pt x="1785656" y="284321"/>
                  <a:pt x="2639862" y="0"/>
                </a:cubicBezTo>
              </a:path>
            </a:pathLst>
          </a:custGeom>
          <a:noFill/>
          <a:ln w="28575">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dirty="0">
              <a:solidFill>
                <a:prstClr val="white"/>
              </a:solidFill>
              <a:latin typeface="Arial" panose="020B0604020202020204" pitchFamily="34" charset="0"/>
              <a:cs typeface="Arial" panose="020B0604020202020204" pitchFamily="34" charset="0"/>
            </a:endParaRPr>
          </a:p>
        </p:txBody>
      </p:sp>
      <p:cxnSp>
        <p:nvCxnSpPr>
          <p:cNvPr id="260" name="직선 연결선 259"/>
          <p:cNvCxnSpPr/>
          <p:nvPr>
            <p:custDataLst>
              <p:tags r:id="rId12"/>
            </p:custDataLst>
          </p:nvPr>
        </p:nvCxnSpPr>
        <p:spPr>
          <a:xfrm flipH="1">
            <a:off x="7278627" y="2401765"/>
            <a:ext cx="721290" cy="0"/>
          </a:xfrm>
          <a:prstGeom prst="line">
            <a:avLst/>
          </a:prstGeom>
          <a:noFill/>
          <a:ln w="12700">
            <a:solidFill>
              <a:srgbClr val="C00000"/>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61" name="직선 연결선 260"/>
          <p:cNvCxnSpPr/>
          <p:nvPr>
            <p:custDataLst>
              <p:tags r:id="rId13"/>
            </p:custDataLst>
          </p:nvPr>
        </p:nvCxnSpPr>
        <p:spPr>
          <a:xfrm>
            <a:off x="3596007" y="2409734"/>
            <a:ext cx="1512405" cy="2644"/>
          </a:xfrm>
          <a:prstGeom prst="line">
            <a:avLst/>
          </a:prstGeom>
          <a:noFill/>
          <a:ln w="12700">
            <a:solidFill>
              <a:srgbClr val="C00000"/>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62" name="직선 연결선 261"/>
          <p:cNvCxnSpPr/>
          <p:nvPr>
            <p:custDataLst>
              <p:tags r:id="rId14"/>
            </p:custDataLst>
          </p:nvPr>
        </p:nvCxnSpPr>
        <p:spPr>
          <a:xfrm>
            <a:off x="2826619" y="2979479"/>
            <a:ext cx="2232486" cy="0"/>
          </a:xfrm>
          <a:prstGeom prst="line">
            <a:avLst/>
          </a:prstGeom>
          <a:noFill/>
          <a:ln w="12700">
            <a:solidFill>
              <a:schemeClr val="tx1">
                <a:lumMod val="50000"/>
                <a:lumOff val="50000"/>
              </a:schemeClr>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63" name="직선 연결선 262"/>
          <p:cNvCxnSpPr/>
          <p:nvPr>
            <p:custDataLst>
              <p:tags r:id="rId15"/>
            </p:custDataLst>
          </p:nvPr>
        </p:nvCxnSpPr>
        <p:spPr>
          <a:xfrm flipH="1">
            <a:off x="7245097" y="2951290"/>
            <a:ext cx="1540394" cy="0"/>
          </a:xfrm>
          <a:prstGeom prst="line">
            <a:avLst/>
          </a:prstGeom>
          <a:noFill/>
          <a:ln w="12700">
            <a:solidFill>
              <a:schemeClr val="tx1">
                <a:lumMod val="50000"/>
                <a:lumOff val="50000"/>
              </a:schemeClr>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264" name="자유형 263"/>
          <p:cNvSpPr/>
          <p:nvPr>
            <p:custDataLst>
              <p:tags r:id="rId16"/>
            </p:custDataLst>
          </p:nvPr>
        </p:nvSpPr>
        <p:spPr>
          <a:xfrm rot="2992690">
            <a:off x="6996135" y="2141670"/>
            <a:ext cx="1300044" cy="260884"/>
          </a:xfrm>
          <a:custGeom>
            <a:avLst/>
            <a:gdLst>
              <a:gd name="connsiteX0" fmla="*/ 0 w 7373566"/>
              <a:gd name="connsiteY0" fmla="*/ 1498060 h 1498060"/>
              <a:gd name="connsiteX1" fmla="*/ 680937 w 7373566"/>
              <a:gd name="connsiteY1" fmla="*/ 1478605 h 1498060"/>
              <a:gd name="connsiteX2" fmla="*/ 1468877 w 7373566"/>
              <a:gd name="connsiteY2" fmla="*/ 1157592 h 1498060"/>
              <a:gd name="connsiteX3" fmla="*/ 3521413 w 7373566"/>
              <a:gd name="connsiteY3" fmla="*/ 340468 h 1498060"/>
              <a:gd name="connsiteX4" fmla="*/ 4007796 w 7373566"/>
              <a:gd name="connsiteY4" fmla="*/ 38911 h 1498060"/>
              <a:gd name="connsiteX5" fmla="*/ 4669277 w 7373566"/>
              <a:gd name="connsiteY5" fmla="*/ 0 h 1498060"/>
              <a:gd name="connsiteX6" fmla="*/ 4786009 w 7373566"/>
              <a:gd name="connsiteY6" fmla="*/ 29183 h 1498060"/>
              <a:gd name="connsiteX7" fmla="*/ 6838545 w 7373566"/>
              <a:gd name="connsiteY7" fmla="*/ 1332690 h 1498060"/>
              <a:gd name="connsiteX8" fmla="*/ 7373566 w 7373566"/>
              <a:gd name="connsiteY8" fmla="*/ 1429966 h 1498060"/>
              <a:gd name="connsiteX9" fmla="*/ 7373566 w 7373566"/>
              <a:gd name="connsiteY9" fmla="*/ 1429966 h 1498060"/>
              <a:gd name="connsiteX0" fmla="*/ 0 w 7373566"/>
              <a:gd name="connsiteY0" fmla="*/ 1498060 h 1504197"/>
              <a:gd name="connsiteX1" fmla="*/ 680937 w 7373566"/>
              <a:gd name="connsiteY1" fmla="*/ 1478605 h 1504197"/>
              <a:gd name="connsiteX2" fmla="*/ 1468877 w 7373566"/>
              <a:gd name="connsiteY2" fmla="*/ 1157592 h 1504197"/>
              <a:gd name="connsiteX3" fmla="*/ 3521413 w 7373566"/>
              <a:gd name="connsiteY3" fmla="*/ 340468 h 1504197"/>
              <a:gd name="connsiteX4" fmla="*/ 4007796 w 7373566"/>
              <a:gd name="connsiteY4" fmla="*/ 38911 h 1504197"/>
              <a:gd name="connsiteX5" fmla="*/ 4669277 w 7373566"/>
              <a:gd name="connsiteY5" fmla="*/ 0 h 1504197"/>
              <a:gd name="connsiteX6" fmla="*/ 4786009 w 7373566"/>
              <a:gd name="connsiteY6" fmla="*/ 29183 h 1504197"/>
              <a:gd name="connsiteX7" fmla="*/ 6838545 w 7373566"/>
              <a:gd name="connsiteY7" fmla="*/ 1332690 h 1504197"/>
              <a:gd name="connsiteX8" fmla="*/ 7373566 w 7373566"/>
              <a:gd name="connsiteY8" fmla="*/ 1429966 h 1504197"/>
              <a:gd name="connsiteX9" fmla="*/ 7373566 w 7373566"/>
              <a:gd name="connsiteY9" fmla="*/ 1429966 h 150419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669277 w 7373566"/>
              <a:gd name="connsiteY5" fmla="*/ 0 h 1515627"/>
              <a:gd name="connsiteX6" fmla="*/ 4786009 w 7373566"/>
              <a:gd name="connsiteY6" fmla="*/ 29183 h 1515627"/>
              <a:gd name="connsiteX7" fmla="*/ 6838545 w 7373566"/>
              <a:gd name="connsiteY7" fmla="*/ 1332690 h 1515627"/>
              <a:gd name="connsiteX8" fmla="*/ 7373566 w 7373566"/>
              <a:gd name="connsiteY8" fmla="*/ 1429966 h 1515627"/>
              <a:gd name="connsiteX9" fmla="*/ 7373566 w 7373566"/>
              <a:gd name="connsiteY9" fmla="*/ 1429966 h 1515627"/>
              <a:gd name="connsiteX0" fmla="*/ 0 w 7373566"/>
              <a:gd name="connsiteY0" fmla="*/ 1498060 h 1515627"/>
              <a:gd name="connsiteX1" fmla="*/ 680937 w 7373566"/>
              <a:gd name="connsiteY1" fmla="*/ 1478605 h 1515627"/>
              <a:gd name="connsiteX2" fmla="*/ 1468877 w 7373566"/>
              <a:gd name="connsiteY2" fmla="*/ 1157592 h 1515627"/>
              <a:gd name="connsiteX3" fmla="*/ 3521413 w 7373566"/>
              <a:gd name="connsiteY3" fmla="*/ 340468 h 1515627"/>
              <a:gd name="connsiteX4" fmla="*/ 4007796 w 7373566"/>
              <a:gd name="connsiteY4" fmla="*/ 38911 h 1515627"/>
              <a:gd name="connsiteX5" fmla="*/ 4218133 w 7373566"/>
              <a:gd name="connsiteY5" fmla="*/ 11128 h 1515627"/>
              <a:gd name="connsiteX6" fmla="*/ 4669277 w 7373566"/>
              <a:gd name="connsiteY6" fmla="*/ 0 h 1515627"/>
              <a:gd name="connsiteX7" fmla="*/ 4786009 w 7373566"/>
              <a:gd name="connsiteY7" fmla="*/ 29183 h 1515627"/>
              <a:gd name="connsiteX8" fmla="*/ 6838545 w 7373566"/>
              <a:gd name="connsiteY8" fmla="*/ 1332690 h 1515627"/>
              <a:gd name="connsiteX9" fmla="*/ 7373566 w 7373566"/>
              <a:gd name="connsiteY9" fmla="*/ 1429966 h 1515627"/>
              <a:gd name="connsiteX10" fmla="*/ 7373566 w 7373566"/>
              <a:gd name="connsiteY10" fmla="*/ 1429966 h 1515627"/>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786009 w 7373566"/>
              <a:gd name="connsiteY7" fmla="*/ 31060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1517504"/>
              <a:gd name="connsiteX1" fmla="*/ 680937 w 7373566"/>
              <a:gd name="connsiteY1" fmla="*/ 1480482 h 1517504"/>
              <a:gd name="connsiteX2" fmla="*/ 1468877 w 7373566"/>
              <a:gd name="connsiteY2" fmla="*/ 1159469 h 1517504"/>
              <a:gd name="connsiteX3" fmla="*/ 3521413 w 7373566"/>
              <a:gd name="connsiteY3" fmla="*/ 342345 h 1517504"/>
              <a:gd name="connsiteX4" fmla="*/ 4007796 w 7373566"/>
              <a:gd name="connsiteY4" fmla="*/ 40788 h 1517504"/>
              <a:gd name="connsiteX5" fmla="*/ 4218133 w 7373566"/>
              <a:gd name="connsiteY5" fmla="*/ 13005 h 1517504"/>
              <a:gd name="connsiteX6" fmla="*/ 4669277 w 7373566"/>
              <a:gd name="connsiteY6" fmla="*/ 1877 h 1517504"/>
              <a:gd name="connsiteX7" fmla="*/ 4836015 w 7373566"/>
              <a:gd name="connsiteY7" fmla="*/ 57254 h 1517504"/>
              <a:gd name="connsiteX8" fmla="*/ 6838545 w 7373566"/>
              <a:gd name="connsiteY8" fmla="*/ 1334567 h 1517504"/>
              <a:gd name="connsiteX9" fmla="*/ 7373566 w 7373566"/>
              <a:gd name="connsiteY9" fmla="*/ 1431843 h 1517504"/>
              <a:gd name="connsiteX10" fmla="*/ 7373566 w 7373566"/>
              <a:gd name="connsiteY10" fmla="*/ 1431843 h 1517504"/>
              <a:gd name="connsiteX0" fmla="*/ 0 w 7373566"/>
              <a:gd name="connsiteY0" fmla="*/ 1499937 h 2025961"/>
              <a:gd name="connsiteX1" fmla="*/ 638265 w 7373566"/>
              <a:gd name="connsiteY1" fmla="*/ 2023026 h 2025961"/>
              <a:gd name="connsiteX2" fmla="*/ 1468877 w 7373566"/>
              <a:gd name="connsiteY2" fmla="*/ 1159469 h 2025961"/>
              <a:gd name="connsiteX3" fmla="*/ 3521413 w 7373566"/>
              <a:gd name="connsiteY3" fmla="*/ 342345 h 2025961"/>
              <a:gd name="connsiteX4" fmla="*/ 4007796 w 7373566"/>
              <a:gd name="connsiteY4" fmla="*/ 40788 h 2025961"/>
              <a:gd name="connsiteX5" fmla="*/ 4218133 w 7373566"/>
              <a:gd name="connsiteY5" fmla="*/ 13005 h 2025961"/>
              <a:gd name="connsiteX6" fmla="*/ 4669277 w 7373566"/>
              <a:gd name="connsiteY6" fmla="*/ 1877 h 2025961"/>
              <a:gd name="connsiteX7" fmla="*/ 4836015 w 7373566"/>
              <a:gd name="connsiteY7" fmla="*/ 57254 h 2025961"/>
              <a:gd name="connsiteX8" fmla="*/ 6838545 w 7373566"/>
              <a:gd name="connsiteY8" fmla="*/ 1334567 h 2025961"/>
              <a:gd name="connsiteX9" fmla="*/ 7373566 w 7373566"/>
              <a:gd name="connsiteY9" fmla="*/ 1431843 h 2025961"/>
              <a:gd name="connsiteX10" fmla="*/ 7373566 w 7373566"/>
              <a:gd name="connsiteY10" fmla="*/ 1431843 h 2025961"/>
              <a:gd name="connsiteX0" fmla="*/ 0 w 7349182"/>
              <a:gd name="connsiteY0" fmla="*/ 2079057 h 2087300"/>
              <a:gd name="connsiteX1" fmla="*/ 613881 w 7349182"/>
              <a:gd name="connsiteY1" fmla="*/ 2023026 h 2087300"/>
              <a:gd name="connsiteX2" fmla="*/ 1444493 w 7349182"/>
              <a:gd name="connsiteY2" fmla="*/ 1159469 h 2087300"/>
              <a:gd name="connsiteX3" fmla="*/ 3497029 w 7349182"/>
              <a:gd name="connsiteY3" fmla="*/ 342345 h 2087300"/>
              <a:gd name="connsiteX4" fmla="*/ 3983412 w 7349182"/>
              <a:gd name="connsiteY4" fmla="*/ 40788 h 2087300"/>
              <a:gd name="connsiteX5" fmla="*/ 4193749 w 7349182"/>
              <a:gd name="connsiteY5" fmla="*/ 13005 h 2087300"/>
              <a:gd name="connsiteX6" fmla="*/ 4644893 w 7349182"/>
              <a:gd name="connsiteY6" fmla="*/ 1877 h 2087300"/>
              <a:gd name="connsiteX7" fmla="*/ 4811631 w 7349182"/>
              <a:gd name="connsiteY7" fmla="*/ 57254 h 2087300"/>
              <a:gd name="connsiteX8" fmla="*/ 6814161 w 7349182"/>
              <a:gd name="connsiteY8" fmla="*/ 1334567 h 2087300"/>
              <a:gd name="connsiteX9" fmla="*/ 7349182 w 7349182"/>
              <a:gd name="connsiteY9" fmla="*/ 1431843 h 2087300"/>
              <a:gd name="connsiteX10" fmla="*/ 7349182 w 7349182"/>
              <a:gd name="connsiteY10" fmla="*/ 1431843 h 2087300"/>
              <a:gd name="connsiteX0" fmla="*/ 0 w 7349182"/>
              <a:gd name="connsiteY0" fmla="*/ 2079057 h 2087300"/>
              <a:gd name="connsiteX1" fmla="*/ 613881 w 7349182"/>
              <a:gd name="connsiteY1" fmla="*/ 2023026 h 2087300"/>
              <a:gd name="connsiteX2" fmla="*/ 1127728 w 7349182"/>
              <a:gd name="connsiteY2" fmla="*/ 1445816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27728 w 7349182"/>
              <a:gd name="connsiteY2" fmla="*/ 1445816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27728 w 7349182"/>
              <a:gd name="connsiteY3" fmla="*/ 1445816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286224 w 7349182"/>
              <a:gd name="connsiteY4" fmla="*/ 1299512 h 2087300"/>
              <a:gd name="connsiteX5" fmla="*/ 1444493 w 7349182"/>
              <a:gd name="connsiteY5" fmla="*/ 1159469 h 2087300"/>
              <a:gd name="connsiteX6" fmla="*/ 3497029 w 7349182"/>
              <a:gd name="connsiteY6" fmla="*/ 342345 h 2087300"/>
              <a:gd name="connsiteX7" fmla="*/ 3983412 w 7349182"/>
              <a:gd name="connsiteY7" fmla="*/ 40788 h 2087300"/>
              <a:gd name="connsiteX8" fmla="*/ 4193749 w 7349182"/>
              <a:gd name="connsiteY8" fmla="*/ 13005 h 2087300"/>
              <a:gd name="connsiteX9" fmla="*/ 4644893 w 7349182"/>
              <a:gd name="connsiteY9" fmla="*/ 1877 h 2087300"/>
              <a:gd name="connsiteX10" fmla="*/ 4811631 w 7349182"/>
              <a:gd name="connsiteY10" fmla="*/ 57254 h 2087300"/>
              <a:gd name="connsiteX11" fmla="*/ 6814161 w 7349182"/>
              <a:gd name="connsiteY11" fmla="*/ 1334567 h 2087300"/>
              <a:gd name="connsiteX12" fmla="*/ 7349182 w 7349182"/>
              <a:gd name="connsiteY12" fmla="*/ 1431843 h 2087300"/>
              <a:gd name="connsiteX13" fmla="*/ 7349182 w 7349182"/>
              <a:gd name="connsiteY13"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194784 w 7349182"/>
              <a:gd name="connsiteY3" fmla="*/ 1421432 h 2087300"/>
              <a:gd name="connsiteX4" fmla="*/ 1444493 w 7349182"/>
              <a:gd name="connsiteY4" fmla="*/ 1159469 h 2087300"/>
              <a:gd name="connsiteX5" fmla="*/ 3497029 w 7349182"/>
              <a:gd name="connsiteY5" fmla="*/ 342345 h 2087300"/>
              <a:gd name="connsiteX6" fmla="*/ 3983412 w 7349182"/>
              <a:gd name="connsiteY6" fmla="*/ 40788 h 2087300"/>
              <a:gd name="connsiteX7" fmla="*/ 4193749 w 7349182"/>
              <a:gd name="connsiteY7" fmla="*/ 13005 h 2087300"/>
              <a:gd name="connsiteX8" fmla="*/ 4644893 w 7349182"/>
              <a:gd name="connsiteY8" fmla="*/ 1877 h 2087300"/>
              <a:gd name="connsiteX9" fmla="*/ 4811631 w 7349182"/>
              <a:gd name="connsiteY9" fmla="*/ 57254 h 2087300"/>
              <a:gd name="connsiteX10" fmla="*/ 6814161 w 7349182"/>
              <a:gd name="connsiteY10" fmla="*/ 1334567 h 2087300"/>
              <a:gd name="connsiteX11" fmla="*/ 7349182 w 7349182"/>
              <a:gd name="connsiteY11" fmla="*/ 1431843 h 2087300"/>
              <a:gd name="connsiteX12" fmla="*/ 7349182 w 7349182"/>
              <a:gd name="connsiteY12"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079057 h 2087300"/>
              <a:gd name="connsiteX1" fmla="*/ 613881 w 7349182"/>
              <a:gd name="connsiteY1" fmla="*/ 2023026 h 2087300"/>
              <a:gd name="connsiteX2" fmla="*/ 1164304 w 7349182"/>
              <a:gd name="connsiteY2" fmla="*/ 1488488 h 2087300"/>
              <a:gd name="connsiteX3" fmla="*/ 1444493 w 7349182"/>
              <a:gd name="connsiteY3" fmla="*/ 1159469 h 2087300"/>
              <a:gd name="connsiteX4" fmla="*/ 3497029 w 7349182"/>
              <a:gd name="connsiteY4" fmla="*/ 342345 h 2087300"/>
              <a:gd name="connsiteX5" fmla="*/ 3983412 w 7349182"/>
              <a:gd name="connsiteY5" fmla="*/ 40788 h 2087300"/>
              <a:gd name="connsiteX6" fmla="*/ 4193749 w 7349182"/>
              <a:gd name="connsiteY6" fmla="*/ 13005 h 2087300"/>
              <a:gd name="connsiteX7" fmla="*/ 4644893 w 7349182"/>
              <a:gd name="connsiteY7" fmla="*/ 1877 h 2087300"/>
              <a:gd name="connsiteX8" fmla="*/ 4811631 w 7349182"/>
              <a:gd name="connsiteY8" fmla="*/ 57254 h 2087300"/>
              <a:gd name="connsiteX9" fmla="*/ 6814161 w 7349182"/>
              <a:gd name="connsiteY9" fmla="*/ 1334567 h 2087300"/>
              <a:gd name="connsiteX10" fmla="*/ 7349182 w 7349182"/>
              <a:gd name="connsiteY10" fmla="*/ 1431843 h 2087300"/>
              <a:gd name="connsiteX11" fmla="*/ 7349182 w 7349182"/>
              <a:gd name="connsiteY11" fmla="*/ 1431843 h 2087300"/>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504750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504750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349182 w 7349182"/>
              <a:gd name="connsiteY10" fmla="*/ 1504750 h 2160207"/>
              <a:gd name="connsiteX11" fmla="*/ 7349182 w 7349182"/>
              <a:gd name="connsiteY11" fmla="*/ 1943662 h 2160207"/>
              <a:gd name="connsiteX0" fmla="*/ 0 w 7349182"/>
              <a:gd name="connsiteY0" fmla="*/ 2151964 h 2160207"/>
              <a:gd name="connsiteX1" fmla="*/ 613881 w 7349182"/>
              <a:gd name="connsiteY1" fmla="*/ 2095933 h 2160207"/>
              <a:gd name="connsiteX2" fmla="*/ 1164304 w 7349182"/>
              <a:gd name="connsiteY2" fmla="*/ 1561395 h 2160207"/>
              <a:gd name="connsiteX3" fmla="*/ 1444493 w 7349182"/>
              <a:gd name="connsiteY3" fmla="*/ 1232376 h 2160207"/>
              <a:gd name="connsiteX4" fmla="*/ 3497029 w 7349182"/>
              <a:gd name="connsiteY4" fmla="*/ 415252 h 2160207"/>
              <a:gd name="connsiteX5" fmla="*/ 3983412 w 7349182"/>
              <a:gd name="connsiteY5" fmla="*/ 113695 h 2160207"/>
              <a:gd name="connsiteX6" fmla="*/ 4193749 w 7349182"/>
              <a:gd name="connsiteY6" fmla="*/ 85912 h 2160207"/>
              <a:gd name="connsiteX7" fmla="*/ 4644893 w 7349182"/>
              <a:gd name="connsiteY7" fmla="*/ 74784 h 2160207"/>
              <a:gd name="connsiteX8" fmla="*/ 4811631 w 7349182"/>
              <a:gd name="connsiteY8" fmla="*/ 130161 h 2160207"/>
              <a:gd name="connsiteX9" fmla="*/ 6680049 w 7349182"/>
              <a:gd name="connsiteY9" fmla="*/ 1614738 h 2160207"/>
              <a:gd name="connsiteX10" fmla="*/ 7288222 w 7349182"/>
              <a:gd name="connsiteY10" fmla="*/ 1949758 h 2160207"/>
              <a:gd name="connsiteX11" fmla="*/ 7349182 w 7349182"/>
              <a:gd name="connsiteY11" fmla="*/ 1943662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288222 w 7361374"/>
              <a:gd name="connsiteY10" fmla="*/ 1949758 h 2160207"/>
              <a:gd name="connsiteX11" fmla="*/ 7361374 w 7361374"/>
              <a:gd name="connsiteY11" fmla="*/ 1992430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288222 w 7361374"/>
              <a:gd name="connsiteY10" fmla="*/ 1949758 h 2160207"/>
              <a:gd name="connsiteX11" fmla="*/ 7361374 w 7361374"/>
              <a:gd name="connsiteY11" fmla="*/ 1992430 h 2160207"/>
              <a:gd name="connsiteX0" fmla="*/ 0 w 7361374"/>
              <a:gd name="connsiteY0" fmla="*/ 2151964 h 2160207"/>
              <a:gd name="connsiteX1" fmla="*/ 613881 w 7361374"/>
              <a:gd name="connsiteY1" fmla="*/ 2095933 h 2160207"/>
              <a:gd name="connsiteX2" fmla="*/ 1164304 w 7361374"/>
              <a:gd name="connsiteY2" fmla="*/ 1561395 h 2160207"/>
              <a:gd name="connsiteX3" fmla="*/ 1444493 w 7361374"/>
              <a:gd name="connsiteY3" fmla="*/ 1232376 h 2160207"/>
              <a:gd name="connsiteX4" fmla="*/ 3497029 w 7361374"/>
              <a:gd name="connsiteY4" fmla="*/ 415252 h 2160207"/>
              <a:gd name="connsiteX5" fmla="*/ 3983412 w 7361374"/>
              <a:gd name="connsiteY5" fmla="*/ 113695 h 2160207"/>
              <a:gd name="connsiteX6" fmla="*/ 4193749 w 7361374"/>
              <a:gd name="connsiteY6" fmla="*/ 85912 h 2160207"/>
              <a:gd name="connsiteX7" fmla="*/ 4644893 w 7361374"/>
              <a:gd name="connsiteY7" fmla="*/ 74784 h 2160207"/>
              <a:gd name="connsiteX8" fmla="*/ 4811631 w 7361374"/>
              <a:gd name="connsiteY8" fmla="*/ 130161 h 2160207"/>
              <a:gd name="connsiteX9" fmla="*/ 6680049 w 7361374"/>
              <a:gd name="connsiteY9" fmla="*/ 1614738 h 2160207"/>
              <a:gd name="connsiteX10" fmla="*/ 7306510 w 7361374"/>
              <a:gd name="connsiteY10" fmla="*/ 1980238 h 2160207"/>
              <a:gd name="connsiteX11" fmla="*/ 7361374 w 7361374"/>
              <a:gd name="connsiteY11" fmla="*/ 1992430 h 2160207"/>
              <a:gd name="connsiteX0" fmla="*/ 0 w 7361374"/>
              <a:gd name="connsiteY0" fmla="*/ 2147055 h 2155298"/>
              <a:gd name="connsiteX1" fmla="*/ 613881 w 7361374"/>
              <a:gd name="connsiteY1" fmla="*/ 2091024 h 2155298"/>
              <a:gd name="connsiteX2" fmla="*/ 1164304 w 7361374"/>
              <a:gd name="connsiteY2" fmla="*/ 1556486 h 2155298"/>
              <a:gd name="connsiteX3" fmla="*/ 1444493 w 7361374"/>
              <a:gd name="connsiteY3" fmla="*/ 1227467 h 2155298"/>
              <a:gd name="connsiteX4" fmla="*/ 3497029 w 7361374"/>
              <a:gd name="connsiteY4" fmla="*/ 410343 h 2155298"/>
              <a:gd name="connsiteX5" fmla="*/ 3983412 w 7361374"/>
              <a:gd name="connsiteY5" fmla="*/ 108786 h 2155298"/>
              <a:gd name="connsiteX6" fmla="*/ 4193749 w 7361374"/>
              <a:gd name="connsiteY6" fmla="*/ 81003 h 2155298"/>
              <a:gd name="connsiteX7" fmla="*/ 4811631 w 7361374"/>
              <a:gd name="connsiteY7" fmla="*/ 125252 h 2155298"/>
              <a:gd name="connsiteX8" fmla="*/ 6680049 w 7361374"/>
              <a:gd name="connsiteY8" fmla="*/ 1609829 h 2155298"/>
              <a:gd name="connsiteX9" fmla="*/ 7306510 w 7361374"/>
              <a:gd name="connsiteY9" fmla="*/ 1975329 h 2155298"/>
              <a:gd name="connsiteX10" fmla="*/ 7361374 w 7361374"/>
              <a:gd name="connsiteY10" fmla="*/ 1987521 h 2155298"/>
              <a:gd name="connsiteX0" fmla="*/ 0 w 7361374"/>
              <a:gd name="connsiteY0" fmla="*/ 2147055 h 2155298"/>
              <a:gd name="connsiteX1" fmla="*/ 613881 w 7361374"/>
              <a:gd name="connsiteY1" fmla="*/ 2091024 h 2155298"/>
              <a:gd name="connsiteX2" fmla="*/ 1164304 w 7361374"/>
              <a:gd name="connsiteY2" fmla="*/ 1556486 h 2155298"/>
              <a:gd name="connsiteX3" fmla="*/ 1444493 w 7361374"/>
              <a:gd name="connsiteY3" fmla="*/ 1227467 h 2155298"/>
              <a:gd name="connsiteX4" fmla="*/ 3497029 w 7361374"/>
              <a:gd name="connsiteY4" fmla="*/ 410343 h 2155298"/>
              <a:gd name="connsiteX5" fmla="*/ 3983412 w 7361374"/>
              <a:gd name="connsiteY5" fmla="*/ 108786 h 2155298"/>
              <a:gd name="connsiteX6" fmla="*/ 4193749 w 7361374"/>
              <a:gd name="connsiteY6" fmla="*/ 81003 h 2155298"/>
              <a:gd name="connsiteX7" fmla="*/ 4811631 w 7361374"/>
              <a:gd name="connsiteY7" fmla="*/ 125252 h 2155298"/>
              <a:gd name="connsiteX8" fmla="*/ 6680049 w 7361374"/>
              <a:gd name="connsiteY8" fmla="*/ 1609829 h 2155298"/>
              <a:gd name="connsiteX9" fmla="*/ 7306510 w 7361374"/>
              <a:gd name="connsiteY9" fmla="*/ 1975329 h 2155298"/>
              <a:gd name="connsiteX10" fmla="*/ 7361374 w 7361374"/>
              <a:gd name="connsiteY10" fmla="*/ 1987521 h 2155298"/>
              <a:gd name="connsiteX0" fmla="*/ 0 w 7361374"/>
              <a:gd name="connsiteY0" fmla="*/ 2125687 h 2133930"/>
              <a:gd name="connsiteX1" fmla="*/ 613881 w 7361374"/>
              <a:gd name="connsiteY1" fmla="*/ 2069656 h 2133930"/>
              <a:gd name="connsiteX2" fmla="*/ 1164304 w 7361374"/>
              <a:gd name="connsiteY2" fmla="*/ 1535118 h 2133930"/>
              <a:gd name="connsiteX3" fmla="*/ 1444493 w 7361374"/>
              <a:gd name="connsiteY3" fmla="*/ 1206099 h 2133930"/>
              <a:gd name="connsiteX4" fmla="*/ 3497029 w 7361374"/>
              <a:gd name="connsiteY4" fmla="*/ 388975 h 2133930"/>
              <a:gd name="connsiteX5" fmla="*/ 3983412 w 7361374"/>
              <a:gd name="connsiteY5" fmla="*/ 87418 h 2133930"/>
              <a:gd name="connsiteX6" fmla="*/ 4193749 w 7361374"/>
              <a:gd name="connsiteY6" fmla="*/ 59635 h 2133930"/>
              <a:gd name="connsiteX7" fmla="*/ 4811631 w 7361374"/>
              <a:gd name="connsiteY7" fmla="*/ 103884 h 2133930"/>
              <a:gd name="connsiteX8" fmla="*/ 6680049 w 7361374"/>
              <a:gd name="connsiteY8" fmla="*/ 1588461 h 2133930"/>
              <a:gd name="connsiteX9" fmla="*/ 7306510 w 7361374"/>
              <a:gd name="connsiteY9" fmla="*/ 1953961 h 2133930"/>
              <a:gd name="connsiteX10" fmla="*/ 7361374 w 7361374"/>
              <a:gd name="connsiteY10" fmla="*/ 1966153 h 2133930"/>
              <a:gd name="connsiteX0" fmla="*/ 0 w 7361374"/>
              <a:gd name="connsiteY0" fmla="*/ 2074904 h 2083147"/>
              <a:gd name="connsiteX1" fmla="*/ 613881 w 7361374"/>
              <a:gd name="connsiteY1" fmla="*/ 2018873 h 2083147"/>
              <a:gd name="connsiteX2" fmla="*/ 1164304 w 7361374"/>
              <a:gd name="connsiteY2" fmla="*/ 1484335 h 2083147"/>
              <a:gd name="connsiteX3" fmla="*/ 1444493 w 7361374"/>
              <a:gd name="connsiteY3" fmla="*/ 1155316 h 2083147"/>
              <a:gd name="connsiteX4" fmla="*/ 3497029 w 7361374"/>
              <a:gd name="connsiteY4" fmla="*/ 338192 h 2083147"/>
              <a:gd name="connsiteX5" fmla="*/ 3983412 w 7361374"/>
              <a:gd name="connsiteY5" fmla="*/ 36635 h 2083147"/>
              <a:gd name="connsiteX6" fmla="*/ 4193749 w 7361374"/>
              <a:gd name="connsiteY6" fmla="*/ 8852 h 2083147"/>
              <a:gd name="connsiteX7" fmla="*/ 4811631 w 7361374"/>
              <a:gd name="connsiteY7" fmla="*/ 53101 h 2083147"/>
              <a:gd name="connsiteX8" fmla="*/ 6680049 w 7361374"/>
              <a:gd name="connsiteY8" fmla="*/ 1537678 h 2083147"/>
              <a:gd name="connsiteX9" fmla="*/ 7306510 w 7361374"/>
              <a:gd name="connsiteY9" fmla="*/ 1903178 h 2083147"/>
              <a:gd name="connsiteX10" fmla="*/ 7361374 w 7361374"/>
              <a:gd name="connsiteY10" fmla="*/ 1915370 h 2083147"/>
              <a:gd name="connsiteX0" fmla="*/ 0 w 7361374"/>
              <a:gd name="connsiteY0" fmla="*/ 2084513 h 2092756"/>
              <a:gd name="connsiteX1" fmla="*/ 613881 w 7361374"/>
              <a:gd name="connsiteY1" fmla="*/ 2028482 h 2092756"/>
              <a:gd name="connsiteX2" fmla="*/ 1164304 w 7361374"/>
              <a:gd name="connsiteY2" fmla="*/ 1493944 h 2092756"/>
              <a:gd name="connsiteX3" fmla="*/ 1444493 w 7361374"/>
              <a:gd name="connsiteY3" fmla="*/ 1164925 h 2092756"/>
              <a:gd name="connsiteX4" fmla="*/ 3497029 w 7361374"/>
              <a:gd name="connsiteY4" fmla="*/ 347801 h 2092756"/>
              <a:gd name="connsiteX5" fmla="*/ 3983412 w 7361374"/>
              <a:gd name="connsiteY5" fmla="*/ 46244 h 2092756"/>
              <a:gd name="connsiteX6" fmla="*/ 4193749 w 7361374"/>
              <a:gd name="connsiteY6" fmla="*/ 18461 h 2092756"/>
              <a:gd name="connsiteX7" fmla="*/ 4811631 w 7361374"/>
              <a:gd name="connsiteY7" fmla="*/ 62710 h 2092756"/>
              <a:gd name="connsiteX8" fmla="*/ 6680049 w 7361374"/>
              <a:gd name="connsiteY8" fmla="*/ 1547287 h 2092756"/>
              <a:gd name="connsiteX9" fmla="*/ 7306510 w 7361374"/>
              <a:gd name="connsiteY9" fmla="*/ 1912787 h 2092756"/>
              <a:gd name="connsiteX10" fmla="*/ 7361374 w 7361374"/>
              <a:gd name="connsiteY10" fmla="*/ 1924979 h 2092756"/>
              <a:gd name="connsiteX0" fmla="*/ 0 w 7361374"/>
              <a:gd name="connsiteY0" fmla="*/ 2084513 h 2092756"/>
              <a:gd name="connsiteX1" fmla="*/ 613881 w 7361374"/>
              <a:gd name="connsiteY1" fmla="*/ 2028482 h 2092756"/>
              <a:gd name="connsiteX2" fmla="*/ 1164304 w 7361374"/>
              <a:gd name="connsiteY2" fmla="*/ 1493944 h 2092756"/>
              <a:gd name="connsiteX3" fmla="*/ 1444493 w 7361374"/>
              <a:gd name="connsiteY3" fmla="*/ 1164925 h 2092756"/>
              <a:gd name="connsiteX4" fmla="*/ 3497029 w 7361374"/>
              <a:gd name="connsiteY4" fmla="*/ 347801 h 2092756"/>
              <a:gd name="connsiteX5" fmla="*/ 3983412 w 7361374"/>
              <a:gd name="connsiteY5" fmla="*/ 46244 h 2092756"/>
              <a:gd name="connsiteX6" fmla="*/ 4193749 w 7361374"/>
              <a:gd name="connsiteY6" fmla="*/ 18461 h 2092756"/>
              <a:gd name="connsiteX7" fmla="*/ 4811631 w 7361374"/>
              <a:gd name="connsiteY7" fmla="*/ 62710 h 2092756"/>
              <a:gd name="connsiteX8" fmla="*/ 6680049 w 7361374"/>
              <a:gd name="connsiteY8" fmla="*/ 1547287 h 2092756"/>
              <a:gd name="connsiteX9" fmla="*/ 7361374 w 7361374"/>
              <a:gd name="connsiteY9" fmla="*/ 1924979 h 2092756"/>
              <a:gd name="connsiteX0" fmla="*/ 0 w 8926014"/>
              <a:gd name="connsiteY0" fmla="*/ 5403214 h 5403346"/>
              <a:gd name="connsiteX1" fmla="*/ 2178521 w 8926014"/>
              <a:gd name="connsiteY1" fmla="*/ 2028482 h 5403346"/>
              <a:gd name="connsiteX2" fmla="*/ 2728944 w 8926014"/>
              <a:gd name="connsiteY2" fmla="*/ 1493944 h 5403346"/>
              <a:gd name="connsiteX3" fmla="*/ 3009133 w 8926014"/>
              <a:gd name="connsiteY3" fmla="*/ 1164925 h 5403346"/>
              <a:gd name="connsiteX4" fmla="*/ 5061669 w 8926014"/>
              <a:gd name="connsiteY4" fmla="*/ 347801 h 5403346"/>
              <a:gd name="connsiteX5" fmla="*/ 5548052 w 8926014"/>
              <a:gd name="connsiteY5" fmla="*/ 46244 h 5403346"/>
              <a:gd name="connsiteX6" fmla="*/ 5758389 w 8926014"/>
              <a:gd name="connsiteY6" fmla="*/ 18461 h 5403346"/>
              <a:gd name="connsiteX7" fmla="*/ 6376271 w 8926014"/>
              <a:gd name="connsiteY7" fmla="*/ 62710 h 5403346"/>
              <a:gd name="connsiteX8" fmla="*/ 8244689 w 8926014"/>
              <a:gd name="connsiteY8" fmla="*/ 1547287 h 5403346"/>
              <a:gd name="connsiteX9" fmla="*/ 8926014 w 8926014"/>
              <a:gd name="connsiteY9" fmla="*/ 1924979 h 5403346"/>
              <a:gd name="connsiteX0" fmla="*/ 0 w 8926014"/>
              <a:gd name="connsiteY0" fmla="*/ 5403214 h 5403491"/>
              <a:gd name="connsiteX1" fmla="*/ 2566220 w 8926014"/>
              <a:gd name="connsiteY1" fmla="*/ 3793341 h 5403491"/>
              <a:gd name="connsiteX2" fmla="*/ 2728944 w 8926014"/>
              <a:gd name="connsiteY2" fmla="*/ 1493944 h 5403491"/>
              <a:gd name="connsiteX3" fmla="*/ 3009133 w 8926014"/>
              <a:gd name="connsiteY3" fmla="*/ 1164925 h 5403491"/>
              <a:gd name="connsiteX4" fmla="*/ 5061669 w 8926014"/>
              <a:gd name="connsiteY4" fmla="*/ 347801 h 5403491"/>
              <a:gd name="connsiteX5" fmla="*/ 5548052 w 8926014"/>
              <a:gd name="connsiteY5" fmla="*/ 46244 h 5403491"/>
              <a:gd name="connsiteX6" fmla="*/ 5758389 w 8926014"/>
              <a:gd name="connsiteY6" fmla="*/ 18461 h 5403491"/>
              <a:gd name="connsiteX7" fmla="*/ 6376271 w 8926014"/>
              <a:gd name="connsiteY7" fmla="*/ 62710 h 5403491"/>
              <a:gd name="connsiteX8" fmla="*/ 8244689 w 8926014"/>
              <a:gd name="connsiteY8" fmla="*/ 1547287 h 5403491"/>
              <a:gd name="connsiteX9" fmla="*/ 8926014 w 8926014"/>
              <a:gd name="connsiteY9" fmla="*/ 1924979 h 5403491"/>
              <a:gd name="connsiteX0" fmla="*/ 0 w 8926014"/>
              <a:gd name="connsiteY0" fmla="*/ 5403214 h 5403491"/>
              <a:gd name="connsiteX1" fmla="*/ 2566220 w 8926014"/>
              <a:gd name="connsiteY1" fmla="*/ 3793341 h 5403491"/>
              <a:gd name="connsiteX2" fmla="*/ 3009133 w 8926014"/>
              <a:gd name="connsiteY2" fmla="*/ 1164925 h 5403491"/>
              <a:gd name="connsiteX3" fmla="*/ 5061669 w 8926014"/>
              <a:gd name="connsiteY3" fmla="*/ 347801 h 5403491"/>
              <a:gd name="connsiteX4" fmla="*/ 5548052 w 8926014"/>
              <a:gd name="connsiteY4" fmla="*/ 46244 h 5403491"/>
              <a:gd name="connsiteX5" fmla="*/ 5758389 w 8926014"/>
              <a:gd name="connsiteY5" fmla="*/ 18461 h 5403491"/>
              <a:gd name="connsiteX6" fmla="*/ 6376271 w 8926014"/>
              <a:gd name="connsiteY6" fmla="*/ 62710 h 5403491"/>
              <a:gd name="connsiteX7" fmla="*/ 8244689 w 8926014"/>
              <a:gd name="connsiteY7" fmla="*/ 1547287 h 5403491"/>
              <a:gd name="connsiteX8" fmla="*/ 8926014 w 8926014"/>
              <a:gd name="connsiteY8" fmla="*/ 1924979 h 5403491"/>
              <a:gd name="connsiteX0" fmla="*/ 0 w 8926014"/>
              <a:gd name="connsiteY0" fmla="*/ 5403214 h 5403491"/>
              <a:gd name="connsiteX1" fmla="*/ 2566220 w 8926014"/>
              <a:gd name="connsiteY1" fmla="*/ 3793341 h 5403491"/>
              <a:gd name="connsiteX2" fmla="*/ 5061669 w 8926014"/>
              <a:gd name="connsiteY2" fmla="*/ 347801 h 5403491"/>
              <a:gd name="connsiteX3" fmla="*/ 5548052 w 8926014"/>
              <a:gd name="connsiteY3" fmla="*/ 46244 h 5403491"/>
              <a:gd name="connsiteX4" fmla="*/ 5758389 w 8926014"/>
              <a:gd name="connsiteY4" fmla="*/ 18461 h 5403491"/>
              <a:gd name="connsiteX5" fmla="*/ 6376271 w 8926014"/>
              <a:gd name="connsiteY5" fmla="*/ 62710 h 5403491"/>
              <a:gd name="connsiteX6" fmla="*/ 8244689 w 8926014"/>
              <a:gd name="connsiteY6" fmla="*/ 1547287 h 5403491"/>
              <a:gd name="connsiteX7" fmla="*/ 8926014 w 8926014"/>
              <a:gd name="connsiteY7" fmla="*/ 1924979 h 5403491"/>
              <a:gd name="connsiteX0" fmla="*/ 0 w 8926014"/>
              <a:gd name="connsiteY0" fmla="*/ 5403214 h 5403491"/>
              <a:gd name="connsiteX1" fmla="*/ 2566220 w 8926014"/>
              <a:gd name="connsiteY1" fmla="*/ 3793341 h 5403491"/>
              <a:gd name="connsiteX2" fmla="*/ 5548052 w 8926014"/>
              <a:gd name="connsiteY2" fmla="*/ 46244 h 5403491"/>
              <a:gd name="connsiteX3" fmla="*/ 5758389 w 8926014"/>
              <a:gd name="connsiteY3" fmla="*/ 18461 h 5403491"/>
              <a:gd name="connsiteX4" fmla="*/ 6376271 w 8926014"/>
              <a:gd name="connsiteY4" fmla="*/ 62710 h 5403491"/>
              <a:gd name="connsiteX5" fmla="*/ 8244689 w 8926014"/>
              <a:gd name="connsiteY5" fmla="*/ 1547287 h 5403491"/>
              <a:gd name="connsiteX6" fmla="*/ 8926014 w 8926014"/>
              <a:gd name="connsiteY6" fmla="*/ 1924979 h 5403491"/>
              <a:gd name="connsiteX0" fmla="*/ 0 w 8926014"/>
              <a:gd name="connsiteY0" fmla="*/ 5403214 h 5403491"/>
              <a:gd name="connsiteX1" fmla="*/ 2566220 w 8926014"/>
              <a:gd name="connsiteY1" fmla="*/ 3793341 h 5403491"/>
              <a:gd name="connsiteX2" fmla="*/ 5758389 w 8926014"/>
              <a:gd name="connsiteY2" fmla="*/ 18461 h 5403491"/>
              <a:gd name="connsiteX3" fmla="*/ 6376271 w 8926014"/>
              <a:gd name="connsiteY3" fmla="*/ 62710 h 5403491"/>
              <a:gd name="connsiteX4" fmla="*/ 8244689 w 8926014"/>
              <a:gd name="connsiteY4" fmla="*/ 1547287 h 5403491"/>
              <a:gd name="connsiteX5" fmla="*/ 8926014 w 8926014"/>
              <a:gd name="connsiteY5" fmla="*/ 1924979 h 5403491"/>
              <a:gd name="connsiteX0" fmla="*/ 0 w 8926014"/>
              <a:gd name="connsiteY0" fmla="*/ 5395881 h 5396158"/>
              <a:gd name="connsiteX1" fmla="*/ 2566220 w 8926014"/>
              <a:gd name="connsiteY1" fmla="*/ 3786008 h 5396158"/>
              <a:gd name="connsiteX2" fmla="*/ 6376271 w 8926014"/>
              <a:gd name="connsiteY2" fmla="*/ 55377 h 5396158"/>
              <a:gd name="connsiteX3" fmla="*/ 8244689 w 8926014"/>
              <a:gd name="connsiteY3" fmla="*/ 1539954 h 5396158"/>
              <a:gd name="connsiteX4" fmla="*/ 8926014 w 8926014"/>
              <a:gd name="connsiteY4" fmla="*/ 1917646 h 5396158"/>
              <a:gd name="connsiteX0" fmla="*/ 0 w 8926014"/>
              <a:gd name="connsiteY0" fmla="*/ 3855927 h 3856204"/>
              <a:gd name="connsiteX1" fmla="*/ 2566220 w 8926014"/>
              <a:gd name="connsiteY1" fmla="*/ 2246054 h 3856204"/>
              <a:gd name="connsiteX2" fmla="*/ 8244689 w 8926014"/>
              <a:gd name="connsiteY2" fmla="*/ 0 h 3856204"/>
              <a:gd name="connsiteX3" fmla="*/ 8926014 w 8926014"/>
              <a:gd name="connsiteY3" fmla="*/ 377692 h 3856204"/>
              <a:gd name="connsiteX0" fmla="*/ 0 w 8926014"/>
              <a:gd name="connsiteY0" fmla="*/ 3478234 h 3478511"/>
              <a:gd name="connsiteX1" fmla="*/ 2566220 w 8926014"/>
              <a:gd name="connsiteY1" fmla="*/ 1868361 h 3478511"/>
              <a:gd name="connsiteX2" fmla="*/ 8926014 w 8926014"/>
              <a:gd name="connsiteY2" fmla="*/ -1 h 3478511"/>
              <a:gd name="connsiteX0" fmla="*/ 0 w 2566220"/>
              <a:gd name="connsiteY0" fmla="*/ 1609873 h 1610150"/>
              <a:gd name="connsiteX1" fmla="*/ 2566220 w 2566220"/>
              <a:gd name="connsiteY1" fmla="*/ 0 h 1610150"/>
              <a:gd name="connsiteX0" fmla="*/ 0 w 2669845"/>
              <a:gd name="connsiteY0" fmla="*/ 1571495 h 1571778"/>
              <a:gd name="connsiteX1" fmla="*/ 2669845 w 2669845"/>
              <a:gd name="connsiteY1" fmla="*/ 0 h 1571778"/>
              <a:gd name="connsiteX0" fmla="*/ 0 w 2669845"/>
              <a:gd name="connsiteY0" fmla="*/ 1594522 h 1594801"/>
              <a:gd name="connsiteX1" fmla="*/ 2669845 w 2669845"/>
              <a:gd name="connsiteY1" fmla="*/ 0 h 1594801"/>
              <a:gd name="connsiteX0" fmla="*/ 0 w 2669845"/>
              <a:gd name="connsiteY0" fmla="*/ 1602921 h 1603170"/>
              <a:gd name="connsiteX1" fmla="*/ 2669845 w 2669845"/>
              <a:gd name="connsiteY1" fmla="*/ 8399 h 1603170"/>
              <a:gd name="connsiteX0" fmla="*/ 0 w 2700933"/>
              <a:gd name="connsiteY0" fmla="*/ 1557081 h 1557336"/>
              <a:gd name="connsiteX1" fmla="*/ 2700933 w 2700933"/>
              <a:gd name="connsiteY1" fmla="*/ 8613 h 1557336"/>
              <a:gd name="connsiteX0" fmla="*/ 0 w 2669845"/>
              <a:gd name="connsiteY0" fmla="*/ 1648772 h 1649016"/>
              <a:gd name="connsiteX1" fmla="*/ 2669845 w 2669845"/>
              <a:gd name="connsiteY1" fmla="*/ 8198 h 1649016"/>
              <a:gd name="connsiteX0" fmla="*/ 0 w 2669845"/>
              <a:gd name="connsiteY0" fmla="*/ 1649515 h 1649516"/>
              <a:gd name="connsiteX1" fmla="*/ 2669845 w 2669845"/>
              <a:gd name="connsiteY1" fmla="*/ 8941 h 1649516"/>
              <a:gd name="connsiteX0" fmla="*/ 0 w 2669845"/>
              <a:gd name="connsiteY0" fmla="*/ 1640574 h 1640575"/>
              <a:gd name="connsiteX1" fmla="*/ 2669845 w 2669845"/>
              <a:gd name="connsiteY1" fmla="*/ 0 h 1640575"/>
              <a:gd name="connsiteX0" fmla="*/ 0 w 2671421"/>
              <a:gd name="connsiteY0" fmla="*/ 1640574 h 1640575"/>
              <a:gd name="connsiteX1" fmla="*/ 2671421 w 2671421"/>
              <a:gd name="connsiteY1" fmla="*/ 12849 h 1640575"/>
              <a:gd name="connsiteX2" fmla="*/ 2669845 w 2671421"/>
              <a:gd name="connsiteY2" fmla="*/ 0 h 1640575"/>
              <a:gd name="connsiteX0" fmla="*/ 0 w 2640333"/>
              <a:gd name="connsiteY0" fmla="*/ 1640575 h 1640575"/>
              <a:gd name="connsiteX1" fmla="*/ 2640333 w 2640333"/>
              <a:gd name="connsiteY1" fmla="*/ 12849 h 1640575"/>
              <a:gd name="connsiteX2" fmla="*/ 2638757 w 2640333"/>
              <a:gd name="connsiteY2" fmla="*/ 0 h 1640575"/>
              <a:gd name="connsiteX0" fmla="*/ 0 w 2640333"/>
              <a:gd name="connsiteY0" fmla="*/ 1640575 h 1640575"/>
              <a:gd name="connsiteX1" fmla="*/ 2640333 w 2640333"/>
              <a:gd name="connsiteY1" fmla="*/ 12849 h 1640575"/>
              <a:gd name="connsiteX2" fmla="*/ 2638757 w 2640333"/>
              <a:gd name="connsiteY2" fmla="*/ 0 h 1640575"/>
              <a:gd name="connsiteX0" fmla="*/ 0 w 2640333"/>
              <a:gd name="connsiteY0" fmla="*/ 1916895 h 1916895"/>
              <a:gd name="connsiteX1" fmla="*/ 2640333 w 2640333"/>
              <a:gd name="connsiteY1" fmla="*/ 289169 h 1916895"/>
              <a:gd name="connsiteX2" fmla="*/ 1379712 w 2640333"/>
              <a:gd name="connsiteY2" fmla="*/ 0 h 1916895"/>
              <a:gd name="connsiteX0" fmla="*/ 0 w 2640333"/>
              <a:gd name="connsiteY0" fmla="*/ 1627726 h 1627726"/>
              <a:gd name="connsiteX1" fmla="*/ 2640333 w 2640333"/>
              <a:gd name="connsiteY1" fmla="*/ 0 h 1627726"/>
              <a:gd name="connsiteX0" fmla="*/ 0 w 2655877"/>
              <a:gd name="connsiteY0" fmla="*/ 1589348 h 1589348"/>
              <a:gd name="connsiteX1" fmla="*/ 2655877 w 2655877"/>
              <a:gd name="connsiteY1" fmla="*/ 0 h 1589348"/>
              <a:gd name="connsiteX0" fmla="*/ 0 w 2655877"/>
              <a:gd name="connsiteY0" fmla="*/ 1589348 h 1589348"/>
              <a:gd name="connsiteX1" fmla="*/ 2655877 w 2655877"/>
              <a:gd name="connsiteY1" fmla="*/ 0 h 1589348"/>
              <a:gd name="connsiteX0" fmla="*/ 3087 w 2658964"/>
              <a:gd name="connsiteY0" fmla="*/ 1589348 h 1650245"/>
              <a:gd name="connsiteX1" fmla="*/ 981 w 2658964"/>
              <a:gd name="connsiteY1" fmla="*/ 1650245 h 1650245"/>
              <a:gd name="connsiteX2" fmla="*/ 2658964 w 2658964"/>
              <a:gd name="connsiteY2" fmla="*/ 0 h 1650245"/>
              <a:gd name="connsiteX0" fmla="*/ 3087 w 2658964"/>
              <a:gd name="connsiteY0" fmla="*/ 1589348 h 1650245"/>
              <a:gd name="connsiteX1" fmla="*/ 981 w 2658964"/>
              <a:gd name="connsiteY1" fmla="*/ 1650245 h 1650245"/>
              <a:gd name="connsiteX2" fmla="*/ 1262808 w 2658964"/>
              <a:gd name="connsiteY2" fmla="*/ 778848 h 1650245"/>
              <a:gd name="connsiteX3" fmla="*/ 2658964 w 2658964"/>
              <a:gd name="connsiteY3" fmla="*/ 0 h 1650245"/>
              <a:gd name="connsiteX0" fmla="*/ 3087 w 2547737"/>
              <a:gd name="connsiteY0" fmla="*/ 1538916 h 1599813"/>
              <a:gd name="connsiteX1" fmla="*/ 981 w 2547737"/>
              <a:gd name="connsiteY1" fmla="*/ 1599813 h 1599813"/>
              <a:gd name="connsiteX2" fmla="*/ 1262808 w 2547737"/>
              <a:gd name="connsiteY2" fmla="*/ 728416 h 1599813"/>
              <a:gd name="connsiteX3" fmla="*/ 2547737 w 2547737"/>
              <a:gd name="connsiteY3" fmla="*/ 0 h 1599813"/>
            </a:gdLst>
            <a:ahLst/>
            <a:cxnLst>
              <a:cxn ang="0">
                <a:pos x="connsiteX0" y="connsiteY0"/>
              </a:cxn>
              <a:cxn ang="0">
                <a:pos x="connsiteX1" y="connsiteY1"/>
              </a:cxn>
              <a:cxn ang="0">
                <a:pos x="connsiteX2" y="connsiteY2"/>
              </a:cxn>
              <a:cxn ang="0">
                <a:pos x="connsiteX3" y="connsiteY3"/>
              </a:cxn>
            </a:cxnLst>
            <a:rect l="l" t="t" r="r" b="b"/>
            <a:pathLst>
              <a:path w="2547737" h="1599813">
                <a:moveTo>
                  <a:pt x="3087" y="1538916"/>
                </a:moveTo>
                <a:cubicBezTo>
                  <a:pt x="6190" y="1538831"/>
                  <a:pt x="-2898" y="1599919"/>
                  <a:pt x="981" y="1599813"/>
                </a:cubicBezTo>
                <a:cubicBezTo>
                  <a:pt x="210935" y="1464730"/>
                  <a:pt x="819811" y="1003457"/>
                  <a:pt x="1262808" y="728416"/>
                </a:cubicBezTo>
                <a:cubicBezTo>
                  <a:pt x="1705805" y="453375"/>
                  <a:pt x="2315044" y="129808"/>
                  <a:pt x="2547737" y="0"/>
                </a:cubicBezTo>
              </a:path>
            </a:pathLst>
          </a:custGeom>
          <a:noFill/>
          <a:ln w="28575">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dirty="0">
              <a:solidFill>
                <a:prstClr val="white"/>
              </a:solidFill>
              <a:latin typeface="Arial" panose="020B0604020202020204" pitchFamily="34" charset="0"/>
              <a:cs typeface="Arial" panose="020B0604020202020204" pitchFamily="34" charset="0"/>
            </a:endParaRPr>
          </a:p>
        </p:txBody>
      </p:sp>
      <p:sp>
        <p:nvSpPr>
          <p:cNvPr id="265" name="자유형 264"/>
          <p:cNvSpPr/>
          <p:nvPr>
            <p:custDataLst>
              <p:tags r:id="rId17"/>
            </p:custDataLst>
          </p:nvPr>
        </p:nvSpPr>
        <p:spPr>
          <a:xfrm>
            <a:off x="1826560" y="1653383"/>
            <a:ext cx="7360024" cy="1346296"/>
          </a:xfrm>
          <a:custGeom>
            <a:avLst/>
            <a:gdLst>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1600 h 1371600"/>
              <a:gd name="connsiteX1" fmla="*/ 618565 w 7351059"/>
              <a:gd name="connsiteY1" fmla="*/ 1299882 h 1371600"/>
              <a:gd name="connsiteX2" fmla="*/ 1317812 w 7351059"/>
              <a:gd name="connsiteY2" fmla="*/ 968188 h 1371600"/>
              <a:gd name="connsiteX3" fmla="*/ 1622612 w 7351059"/>
              <a:gd name="connsiteY3" fmla="*/ 770965 h 1371600"/>
              <a:gd name="connsiteX4" fmla="*/ 1990165 w 7351059"/>
              <a:gd name="connsiteY4" fmla="*/ 573741 h 1371600"/>
              <a:gd name="connsiteX5" fmla="*/ 2743200 w 7351059"/>
              <a:gd name="connsiteY5" fmla="*/ 277906 h 1371600"/>
              <a:gd name="connsiteX6" fmla="*/ 3415553 w 7351059"/>
              <a:gd name="connsiteY6" fmla="*/ 197224 h 1371600"/>
              <a:gd name="connsiteX7" fmla="*/ 4052047 w 7351059"/>
              <a:gd name="connsiteY7" fmla="*/ 44824 h 1371600"/>
              <a:gd name="connsiteX8" fmla="*/ 4661647 w 7351059"/>
              <a:gd name="connsiteY8" fmla="*/ 0 h 1371600"/>
              <a:gd name="connsiteX9" fmla="*/ 4787153 w 7351059"/>
              <a:gd name="connsiteY9" fmla="*/ 17929 h 1371600"/>
              <a:gd name="connsiteX10" fmla="*/ 6104965 w 7351059"/>
              <a:gd name="connsiteY10" fmla="*/ 555812 h 1371600"/>
              <a:gd name="connsiteX11" fmla="*/ 6804212 w 7351059"/>
              <a:gd name="connsiteY11" fmla="*/ 1120588 h 1371600"/>
              <a:gd name="connsiteX12" fmla="*/ 7351059 w 7351059"/>
              <a:gd name="connsiteY12" fmla="*/ 1272988 h 1371600"/>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104965 w 7351059"/>
              <a:gd name="connsiteY10" fmla="*/ 562784 h 1378572"/>
              <a:gd name="connsiteX11" fmla="*/ 6804212 w 7351059"/>
              <a:gd name="connsiteY11" fmla="*/ 1127560 h 1378572"/>
              <a:gd name="connsiteX12" fmla="*/ 7351059 w 7351059"/>
              <a:gd name="connsiteY12" fmla="*/ 1279960 h 1378572"/>
              <a:gd name="connsiteX0" fmla="*/ 0 w 7351059"/>
              <a:gd name="connsiteY0" fmla="*/ 1378572 h 1378572"/>
              <a:gd name="connsiteX1" fmla="*/ 618565 w 7351059"/>
              <a:gd name="connsiteY1" fmla="*/ 1306854 h 1378572"/>
              <a:gd name="connsiteX2" fmla="*/ 1317812 w 7351059"/>
              <a:gd name="connsiteY2" fmla="*/ 975160 h 1378572"/>
              <a:gd name="connsiteX3" fmla="*/ 1622612 w 7351059"/>
              <a:gd name="connsiteY3" fmla="*/ 777937 h 1378572"/>
              <a:gd name="connsiteX4" fmla="*/ 1990165 w 7351059"/>
              <a:gd name="connsiteY4" fmla="*/ 580713 h 1378572"/>
              <a:gd name="connsiteX5" fmla="*/ 2743200 w 7351059"/>
              <a:gd name="connsiteY5" fmla="*/ 284878 h 1378572"/>
              <a:gd name="connsiteX6" fmla="*/ 3415553 w 7351059"/>
              <a:gd name="connsiteY6" fmla="*/ 204196 h 1378572"/>
              <a:gd name="connsiteX7" fmla="*/ 4052047 w 7351059"/>
              <a:gd name="connsiteY7" fmla="*/ 51796 h 1378572"/>
              <a:gd name="connsiteX8" fmla="*/ 4661647 w 7351059"/>
              <a:gd name="connsiteY8" fmla="*/ 6972 h 1378572"/>
              <a:gd name="connsiteX9" fmla="*/ 4787153 w 7351059"/>
              <a:gd name="connsiteY9" fmla="*/ 24901 h 1378572"/>
              <a:gd name="connsiteX10" fmla="*/ 6087036 w 7351059"/>
              <a:gd name="connsiteY10" fmla="*/ 571749 h 1378572"/>
              <a:gd name="connsiteX11" fmla="*/ 6804212 w 7351059"/>
              <a:gd name="connsiteY11" fmla="*/ 1127560 h 1378572"/>
              <a:gd name="connsiteX12" fmla="*/ 7351059 w 7351059"/>
              <a:gd name="connsiteY12" fmla="*/ 1279960 h 1378572"/>
              <a:gd name="connsiteX0" fmla="*/ 0 w 7351059"/>
              <a:gd name="connsiteY0" fmla="*/ 1374589 h 1374589"/>
              <a:gd name="connsiteX1" fmla="*/ 618565 w 7351059"/>
              <a:gd name="connsiteY1" fmla="*/ 1302871 h 1374589"/>
              <a:gd name="connsiteX2" fmla="*/ 1317812 w 7351059"/>
              <a:gd name="connsiteY2" fmla="*/ 971177 h 1374589"/>
              <a:gd name="connsiteX3" fmla="*/ 1622612 w 7351059"/>
              <a:gd name="connsiteY3" fmla="*/ 773954 h 1374589"/>
              <a:gd name="connsiteX4" fmla="*/ 1990165 w 7351059"/>
              <a:gd name="connsiteY4" fmla="*/ 576730 h 1374589"/>
              <a:gd name="connsiteX5" fmla="*/ 2743200 w 7351059"/>
              <a:gd name="connsiteY5" fmla="*/ 280895 h 1374589"/>
              <a:gd name="connsiteX6" fmla="*/ 3415553 w 7351059"/>
              <a:gd name="connsiteY6" fmla="*/ 200213 h 1374589"/>
              <a:gd name="connsiteX7" fmla="*/ 4043082 w 7351059"/>
              <a:gd name="connsiteY7" fmla="*/ 74707 h 1374589"/>
              <a:gd name="connsiteX8" fmla="*/ 4661647 w 7351059"/>
              <a:gd name="connsiteY8" fmla="*/ 2989 h 1374589"/>
              <a:gd name="connsiteX9" fmla="*/ 4787153 w 7351059"/>
              <a:gd name="connsiteY9" fmla="*/ 20918 h 1374589"/>
              <a:gd name="connsiteX10" fmla="*/ 6087036 w 7351059"/>
              <a:gd name="connsiteY10" fmla="*/ 567766 h 1374589"/>
              <a:gd name="connsiteX11" fmla="*/ 6804212 w 7351059"/>
              <a:gd name="connsiteY11" fmla="*/ 1123577 h 1374589"/>
              <a:gd name="connsiteX12" fmla="*/ 7351059 w 7351059"/>
              <a:gd name="connsiteY12" fmla="*/ 1275977 h 1374589"/>
              <a:gd name="connsiteX0" fmla="*/ 0 w 7351059"/>
              <a:gd name="connsiteY0" fmla="*/ 1374589 h 1374589"/>
              <a:gd name="connsiteX1" fmla="*/ 618565 w 7351059"/>
              <a:gd name="connsiteY1" fmla="*/ 1302871 h 1374589"/>
              <a:gd name="connsiteX2" fmla="*/ 1317812 w 7351059"/>
              <a:gd name="connsiteY2" fmla="*/ 971177 h 1374589"/>
              <a:gd name="connsiteX3" fmla="*/ 1622612 w 7351059"/>
              <a:gd name="connsiteY3" fmla="*/ 773954 h 1374589"/>
              <a:gd name="connsiteX4" fmla="*/ 1990165 w 7351059"/>
              <a:gd name="connsiteY4" fmla="*/ 576730 h 1374589"/>
              <a:gd name="connsiteX5" fmla="*/ 2743200 w 7351059"/>
              <a:gd name="connsiteY5" fmla="*/ 280895 h 1374589"/>
              <a:gd name="connsiteX6" fmla="*/ 3415553 w 7351059"/>
              <a:gd name="connsiteY6" fmla="*/ 200213 h 1374589"/>
              <a:gd name="connsiteX7" fmla="*/ 4043082 w 7351059"/>
              <a:gd name="connsiteY7" fmla="*/ 74707 h 1374589"/>
              <a:gd name="connsiteX8" fmla="*/ 4661647 w 7351059"/>
              <a:gd name="connsiteY8" fmla="*/ 2989 h 1374589"/>
              <a:gd name="connsiteX9" fmla="*/ 4787153 w 7351059"/>
              <a:gd name="connsiteY9" fmla="*/ 20918 h 1374589"/>
              <a:gd name="connsiteX10" fmla="*/ 6087036 w 7351059"/>
              <a:gd name="connsiteY10" fmla="*/ 567766 h 1374589"/>
              <a:gd name="connsiteX11" fmla="*/ 6804212 w 7351059"/>
              <a:gd name="connsiteY11" fmla="*/ 1123577 h 1374589"/>
              <a:gd name="connsiteX12" fmla="*/ 7351059 w 7351059"/>
              <a:gd name="connsiteY12" fmla="*/ 1275977 h 1374589"/>
              <a:gd name="connsiteX0" fmla="*/ 0 w 7351059"/>
              <a:gd name="connsiteY0" fmla="*/ 1353671 h 1353671"/>
              <a:gd name="connsiteX1" fmla="*/ 618565 w 7351059"/>
              <a:gd name="connsiteY1" fmla="*/ 1281953 h 1353671"/>
              <a:gd name="connsiteX2" fmla="*/ 1317812 w 7351059"/>
              <a:gd name="connsiteY2" fmla="*/ 950259 h 1353671"/>
              <a:gd name="connsiteX3" fmla="*/ 1622612 w 7351059"/>
              <a:gd name="connsiteY3" fmla="*/ 753036 h 1353671"/>
              <a:gd name="connsiteX4" fmla="*/ 1990165 w 7351059"/>
              <a:gd name="connsiteY4" fmla="*/ 555812 h 1353671"/>
              <a:gd name="connsiteX5" fmla="*/ 2743200 w 7351059"/>
              <a:gd name="connsiteY5" fmla="*/ 259977 h 1353671"/>
              <a:gd name="connsiteX6" fmla="*/ 3415553 w 7351059"/>
              <a:gd name="connsiteY6" fmla="*/ 179295 h 1353671"/>
              <a:gd name="connsiteX7" fmla="*/ 4043082 w 7351059"/>
              <a:gd name="connsiteY7" fmla="*/ 53789 h 1353671"/>
              <a:gd name="connsiteX8" fmla="*/ 4661647 w 7351059"/>
              <a:gd name="connsiteY8" fmla="*/ 17930 h 1353671"/>
              <a:gd name="connsiteX9" fmla="*/ 4787153 w 7351059"/>
              <a:gd name="connsiteY9" fmla="*/ 0 h 1353671"/>
              <a:gd name="connsiteX10" fmla="*/ 6087036 w 7351059"/>
              <a:gd name="connsiteY10" fmla="*/ 546848 h 1353671"/>
              <a:gd name="connsiteX11" fmla="*/ 6804212 w 7351059"/>
              <a:gd name="connsiteY11" fmla="*/ 1102659 h 1353671"/>
              <a:gd name="connsiteX12" fmla="*/ 7351059 w 7351059"/>
              <a:gd name="connsiteY12" fmla="*/ 1255059 h 1353671"/>
              <a:gd name="connsiteX0" fmla="*/ 0 w 7351059"/>
              <a:gd name="connsiteY0" fmla="*/ 1353671 h 1353671"/>
              <a:gd name="connsiteX1" fmla="*/ 618565 w 7351059"/>
              <a:gd name="connsiteY1" fmla="*/ 1281953 h 1353671"/>
              <a:gd name="connsiteX2" fmla="*/ 1317812 w 7351059"/>
              <a:gd name="connsiteY2" fmla="*/ 950259 h 1353671"/>
              <a:gd name="connsiteX3" fmla="*/ 1622612 w 7351059"/>
              <a:gd name="connsiteY3" fmla="*/ 753036 h 1353671"/>
              <a:gd name="connsiteX4" fmla="*/ 1990165 w 7351059"/>
              <a:gd name="connsiteY4" fmla="*/ 555812 h 1353671"/>
              <a:gd name="connsiteX5" fmla="*/ 2743200 w 7351059"/>
              <a:gd name="connsiteY5" fmla="*/ 259977 h 1353671"/>
              <a:gd name="connsiteX6" fmla="*/ 3415553 w 7351059"/>
              <a:gd name="connsiteY6" fmla="*/ 179295 h 1353671"/>
              <a:gd name="connsiteX7" fmla="*/ 4043082 w 7351059"/>
              <a:gd name="connsiteY7" fmla="*/ 53789 h 1353671"/>
              <a:gd name="connsiteX8" fmla="*/ 4661647 w 7351059"/>
              <a:gd name="connsiteY8" fmla="*/ 17930 h 1353671"/>
              <a:gd name="connsiteX9" fmla="*/ 4787153 w 7351059"/>
              <a:gd name="connsiteY9" fmla="*/ 0 h 1353671"/>
              <a:gd name="connsiteX10" fmla="*/ 6087036 w 7351059"/>
              <a:gd name="connsiteY10" fmla="*/ 546848 h 1353671"/>
              <a:gd name="connsiteX11" fmla="*/ 6804212 w 7351059"/>
              <a:gd name="connsiteY11" fmla="*/ 1102659 h 1353671"/>
              <a:gd name="connsiteX12" fmla="*/ 7351059 w 7351059"/>
              <a:gd name="connsiteY12" fmla="*/ 1255059 h 1353671"/>
              <a:gd name="connsiteX0" fmla="*/ 0 w 7351059"/>
              <a:gd name="connsiteY0" fmla="*/ 1353671 h 1353671"/>
              <a:gd name="connsiteX1" fmla="*/ 618565 w 7351059"/>
              <a:gd name="connsiteY1" fmla="*/ 1281953 h 1353671"/>
              <a:gd name="connsiteX2" fmla="*/ 1317812 w 7351059"/>
              <a:gd name="connsiteY2" fmla="*/ 950259 h 1353671"/>
              <a:gd name="connsiteX3" fmla="*/ 1622612 w 7351059"/>
              <a:gd name="connsiteY3" fmla="*/ 753036 h 1353671"/>
              <a:gd name="connsiteX4" fmla="*/ 1990165 w 7351059"/>
              <a:gd name="connsiteY4" fmla="*/ 555812 h 1353671"/>
              <a:gd name="connsiteX5" fmla="*/ 2743200 w 7351059"/>
              <a:gd name="connsiteY5" fmla="*/ 259977 h 1353671"/>
              <a:gd name="connsiteX6" fmla="*/ 3415553 w 7351059"/>
              <a:gd name="connsiteY6" fmla="*/ 179295 h 1353671"/>
              <a:gd name="connsiteX7" fmla="*/ 4043082 w 7351059"/>
              <a:gd name="connsiteY7" fmla="*/ 53789 h 1353671"/>
              <a:gd name="connsiteX8" fmla="*/ 4661647 w 7351059"/>
              <a:gd name="connsiteY8" fmla="*/ 17930 h 1353671"/>
              <a:gd name="connsiteX9" fmla="*/ 4787153 w 7351059"/>
              <a:gd name="connsiteY9" fmla="*/ 0 h 1353671"/>
              <a:gd name="connsiteX10" fmla="*/ 6087036 w 7351059"/>
              <a:gd name="connsiteY10" fmla="*/ 546848 h 1353671"/>
              <a:gd name="connsiteX11" fmla="*/ 6804212 w 7351059"/>
              <a:gd name="connsiteY11" fmla="*/ 1102659 h 1353671"/>
              <a:gd name="connsiteX12" fmla="*/ 7351059 w 7351059"/>
              <a:gd name="connsiteY12" fmla="*/ 1255059 h 1353671"/>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087036 w 7351059"/>
              <a:gd name="connsiteY10" fmla="*/ 533007 h 1339830"/>
              <a:gd name="connsiteX11" fmla="*/ 6804212 w 7351059"/>
              <a:gd name="connsiteY11" fmla="*/ 108881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087036 w 7351059"/>
              <a:gd name="connsiteY10" fmla="*/ 533007 h 1339830"/>
              <a:gd name="connsiteX11" fmla="*/ 6804212 w 7351059"/>
              <a:gd name="connsiteY11" fmla="*/ 108881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122895 w 7351059"/>
              <a:gd name="connsiteY10" fmla="*/ 568866 h 1339830"/>
              <a:gd name="connsiteX11" fmla="*/ 6804212 w 7351059"/>
              <a:gd name="connsiteY11" fmla="*/ 108881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122895 w 7351059"/>
              <a:gd name="connsiteY10" fmla="*/ 568866 h 1339830"/>
              <a:gd name="connsiteX11" fmla="*/ 6804212 w 7351059"/>
              <a:gd name="connsiteY11" fmla="*/ 108881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122895 w 7351059"/>
              <a:gd name="connsiteY10" fmla="*/ 568866 h 1339830"/>
              <a:gd name="connsiteX11" fmla="*/ 6804212 w 7351059"/>
              <a:gd name="connsiteY11" fmla="*/ 108881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122895 w 7351059"/>
              <a:gd name="connsiteY10" fmla="*/ 568866 h 1339830"/>
              <a:gd name="connsiteX11" fmla="*/ 6831106 w 7351059"/>
              <a:gd name="connsiteY11" fmla="*/ 1106748 h 1339830"/>
              <a:gd name="connsiteX12" fmla="*/ 7351059 w 7351059"/>
              <a:gd name="connsiteY12" fmla="*/ 1241218 h 1339830"/>
              <a:gd name="connsiteX0" fmla="*/ 0 w 7351059"/>
              <a:gd name="connsiteY0" fmla="*/ 1339830 h 1339830"/>
              <a:gd name="connsiteX1" fmla="*/ 618565 w 7351059"/>
              <a:gd name="connsiteY1" fmla="*/ 1268112 h 1339830"/>
              <a:gd name="connsiteX2" fmla="*/ 1317812 w 7351059"/>
              <a:gd name="connsiteY2" fmla="*/ 936418 h 1339830"/>
              <a:gd name="connsiteX3" fmla="*/ 1622612 w 7351059"/>
              <a:gd name="connsiteY3" fmla="*/ 739195 h 1339830"/>
              <a:gd name="connsiteX4" fmla="*/ 1990165 w 7351059"/>
              <a:gd name="connsiteY4" fmla="*/ 541971 h 1339830"/>
              <a:gd name="connsiteX5" fmla="*/ 2743200 w 7351059"/>
              <a:gd name="connsiteY5" fmla="*/ 246136 h 1339830"/>
              <a:gd name="connsiteX6" fmla="*/ 3415553 w 7351059"/>
              <a:gd name="connsiteY6" fmla="*/ 165454 h 1339830"/>
              <a:gd name="connsiteX7" fmla="*/ 4043082 w 7351059"/>
              <a:gd name="connsiteY7" fmla="*/ 39948 h 1339830"/>
              <a:gd name="connsiteX8" fmla="*/ 4661647 w 7351059"/>
              <a:gd name="connsiteY8" fmla="*/ 4089 h 1339830"/>
              <a:gd name="connsiteX9" fmla="*/ 4805082 w 7351059"/>
              <a:gd name="connsiteY9" fmla="*/ 30982 h 1339830"/>
              <a:gd name="connsiteX10" fmla="*/ 6122895 w 7351059"/>
              <a:gd name="connsiteY10" fmla="*/ 568866 h 1339830"/>
              <a:gd name="connsiteX11" fmla="*/ 6858000 w 7351059"/>
              <a:gd name="connsiteY11" fmla="*/ 1133642 h 1339830"/>
              <a:gd name="connsiteX12" fmla="*/ 7351059 w 7351059"/>
              <a:gd name="connsiteY12" fmla="*/ 1241218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22895 w 7360024"/>
              <a:gd name="connsiteY10" fmla="*/ 56886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15275 w 7360024"/>
              <a:gd name="connsiteY10" fmla="*/ 58410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15275 w 7360024"/>
              <a:gd name="connsiteY10" fmla="*/ 58410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15275 w 7360024"/>
              <a:gd name="connsiteY10" fmla="*/ 584106 h 1339830"/>
              <a:gd name="connsiteX11" fmla="*/ 6858000 w 7360024"/>
              <a:gd name="connsiteY11" fmla="*/ 1133642 h 1339830"/>
              <a:gd name="connsiteX12" fmla="*/ 7360024 w 7360024"/>
              <a:gd name="connsiteY12" fmla="*/ 1259147 h 1339830"/>
              <a:gd name="connsiteX0" fmla="*/ 0 w 7360024"/>
              <a:gd name="connsiteY0" fmla="*/ 1339830 h 1339830"/>
              <a:gd name="connsiteX1" fmla="*/ 618565 w 7360024"/>
              <a:gd name="connsiteY1" fmla="*/ 1268112 h 1339830"/>
              <a:gd name="connsiteX2" fmla="*/ 1317812 w 7360024"/>
              <a:gd name="connsiteY2" fmla="*/ 936418 h 1339830"/>
              <a:gd name="connsiteX3" fmla="*/ 1622612 w 7360024"/>
              <a:gd name="connsiteY3" fmla="*/ 739195 h 1339830"/>
              <a:gd name="connsiteX4" fmla="*/ 1990165 w 7360024"/>
              <a:gd name="connsiteY4" fmla="*/ 541971 h 1339830"/>
              <a:gd name="connsiteX5" fmla="*/ 2743200 w 7360024"/>
              <a:gd name="connsiteY5" fmla="*/ 246136 h 1339830"/>
              <a:gd name="connsiteX6" fmla="*/ 3415553 w 7360024"/>
              <a:gd name="connsiteY6" fmla="*/ 165454 h 1339830"/>
              <a:gd name="connsiteX7" fmla="*/ 4043082 w 7360024"/>
              <a:gd name="connsiteY7" fmla="*/ 39948 h 1339830"/>
              <a:gd name="connsiteX8" fmla="*/ 4661647 w 7360024"/>
              <a:gd name="connsiteY8" fmla="*/ 4089 h 1339830"/>
              <a:gd name="connsiteX9" fmla="*/ 4805082 w 7360024"/>
              <a:gd name="connsiteY9" fmla="*/ 30982 h 1339830"/>
              <a:gd name="connsiteX10" fmla="*/ 6115275 w 7360024"/>
              <a:gd name="connsiteY10" fmla="*/ 584106 h 1339830"/>
              <a:gd name="connsiteX11" fmla="*/ 6858000 w 7360024"/>
              <a:gd name="connsiteY11" fmla="*/ 1133642 h 1339830"/>
              <a:gd name="connsiteX12" fmla="*/ 7360024 w 7360024"/>
              <a:gd name="connsiteY12" fmla="*/ 1259147 h 1339830"/>
              <a:gd name="connsiteX0" fmla="*/ 0 w 7360024"/>
              <a:gd name="connsiteY0" fmla="*/ 1346296 h 1346296"/>
              <a:gd name="connsiteX1" fmla="*/ 618565 w 7360024"/>
              <a:gd name="connsiteY1" fmla="*/ 1274578 h 1346296"/>
              <a:gd name="connsiteX2" fmla="*/ 1317812 w 7360024"/>
              <a:gd name="connsiteY2" fmla="*/ 94288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317812 w 7360024"/>
              <a:gd name="connsiteY2" fmla="*/ 94288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317812 w 7360024"/>
              <a:gd name="connsiteY2" fmla="*/ 94288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317812 w 7360024"/>
              <a:gd name="connsiteY2" fmla="*/ 94288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317812 w 7360024"/>
              <a:gd name="connsiteY2" fmla="*/ 94288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287332 w 7360024"/>
              <a:gd name="connsiteY2" fmla="*/ 95050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287332 w 7360024"/>
              <a:gd name="connsiteY2" fmla="*/ 95050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 name="connsiteX0" fmla="*/ 0 w 7360024"/>
              <a:gd name="connsiteY0" fmla="*/ 1346296 h 1346296"/>
              <a:gd name="connsiteX1" fmla="*/ 618565 w 7360024"/>
              <a:gd name="connsiteY1" fmla="*/ 1274578 h 1346296"/>
              <a:gd name="connsiteX2" fmla="*/ 1287332 w 7360024"/>
              <a:gd name="connsiteY2" fmla="*/ 950504 h 1346296"/>
              <a:gd name="connsiteX3" fmla="*/ 1622612 w 7360024"/>
              <a:gd name="connsiteY3" fmla="*/ 745661 h 1346296"/>
              <a:gd name="connsiteX4" fmla="*/ 1990165 w 7360024"/>
              <a:gd name="connsiteY4" fmla="*/ 548437 h 1346296"/>
              <a:gd name="connsiteX5" fmla="*/ 2743200 w 7360024"/>
              <a:gd name="connsiteY5" fmla="*/ 252602 h 1346296"/>
              <a:gd name="connsiteX6" fmla="*/ 3415553 w 7360024"/>
              <a:gd name="connsiteY6" fmla="*/ 171920 h 1346296"/>
              <a:gd name="connsiteX7" fmla="*/ 4043082 w 7360024"/>
              <a:gd name="connsiteY7" fmla="*/ 46414 h 1346296"/>
              <a:gd name="connsiteX8" fmla="*/ 4661647 w 7360024"/>
              <a:gd name="connsiteY8" fmla="*/ 10555 h 1346296"/>
              <a:gd name="connsiteX9" fmla="*/ 4805082 w 7360024"/>
              <a:gd name="connsiteY9" fmla="*/ 37448 h 1346296"/>
              <a:gd name="connsiteX10" fmla="*/ 6115275 w 7360024"/>
              <a:gd name="connsiteY10" fmla="*/ 590572 h 1346296"/>
              <a:gd name="connsiteX11" fmla="*/ 6858000 w 7360024"/>
              <a:gd name="connsiteY11" fmla="*/ 1140108 h 1346296"/>
              <a:gd name="connsiteX12" fmla="*/ 7360024 w 7360024"/>
              <a:gd name="connsiteY12" fmla="*/ 1265613 h 134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0024" h="1346296">
                <a:moveTo>
                  <a:pt x="0" y="1346296"/>
                </a:moveTo>
                <a:cubicBezTo>
                  <a:pt x="206188" y="1322390"/>
                  <a:pt x="421341" y="1307449"/>
                  <a:pt x="618565" y="1274578"/>
                </a:cubicBezTo>
                <a:cubicBezTo>
                  <a:pt x="878541" y="1181942"/>
                  <a:pt x="1054250" y="1061069"/>
                  <a:pt x="1287332" y="950504"/>
                </a:cubicBezTo>
                <a:cubicBezTo>
                  <a:pt x="1409551" y="870419"/>
                  <a:pt x="1521012" y="811402"/>
                  <a:pt x="1622612" y="745661"/>
                </a:cubicBezTo>
                <a:cubicBezTo>
                  <a:pt x="1726305" y="679920"/>
                  <a:pt x="1886921" y="600283"/>
                  <a:pt x="1990165" y="548437"/>
                </a:cubicBezTo>
                <a:cubicBezTo>
                  <a:pt x="2241177" y="449825"/>
                  <a:pt x="2465294" y="333284"/>
                  <a:pt x="2743200" y="252602"/>
                </a:cubicBezTo>
                <a:cubicBezTo>
                  <a:pt x="2958353" y="183574"/>
                  <a:pt x="3191435" y="198814"/>
                  <a:pt x="3415553" y="171920"/>
                </a:cubicBezTo>
                <a:cubicBezTo>
                  <a:pt x="3672542" y="130084"/>
                  <a:pt x="3821953" y="106178"/>
                  <a:pt x="4043082" y="46414"/>
                </a:cubicBezTo>
                <a:cubicBezTo>
                  <a:pt x="4237317" y="13544"/>
                  <a:pt x="4356697" y="-16638"/>
                  <a:pt x="4661647" y="10555"/>
                </a:cubicBezTo>
                <a:lnTo>
                  <a:pt x="4805082" y="37448"/>
                </a:lnTo>
                <a:cubicBezTo>
                  <a:pt x="5298141" y="153989"/>
                  <a:pt x="5869193" y="410381"/>
                  <a:pt x="6115275" y="590572"/>
                </a:cubicBezTo>
                <a:cubicBezTo>
                  <a:pt x="6337151" y="738490"/>
                  <a:pt x="6615953" y="987708"/>
                  <a:pt x="6858000" y="1140108"/>
                </a:cubicBezTo>
                <a:cubicBezTo>
                  <a:pt x="7112000" y="1235731"/>
                  <a:pt x="7186706" y="1250672"/>
                  <a:pt x="7360024" y="1265613"/>
                </a:cubicBezTo>
              </a:path>
            </a:pathLst>
          </a:custGeom>
          <a:noFill/>
          <a:ln w="28575">
            <a:solidFill>
              <a:srgbClr val="C607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00">
              <a:solidFill>
                <a:prstClr val="white"/>
              </a:solidFill>
              <a:latin typeface="Arial" panose="020B0604020202020204" pitchFamily="34" charset="0"/>
              <a:cs typeface="Arial" panose="020B0604020202020204" pitchFamily="34" charset="0"/>
            </a:endParaRPr>
          </a:p>
        </p:txBody>
      </p:sp>
      <p:cxnSp>
        <p:nvCxnSpPr>
          <p:cNvPr id="266" name="직선 연결선 265"/>
          <p:cNvCxnSpPr/>
          <p:nvPr/>
        </p:nvCxnSpPr>
        <p:spPr>
          <a:xfrm>
            <a:off x="0" y="2680574"/>
            <a:ext cx="9897278"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7" name="TextBox 266"/>
          <p:cNvSpPr txBox="1"/>
          <p:nvPr/>
        </p:nvSpPr>
        <p:spPr>
          <a:xfrm>
            <a:off x="3143727" y="3167221"/>
            <a:ext cx="1272370" cy="523220"/>
          </a:xfrm>
          <a:prstGeom prst="rect">
            <a:avLst/>
          </a:prstGeom>
          <a:noFill/>
        </p:spPr>
        <p:txBody>
          <a:bodyPr wrap="square" rtlCol="0">
            <a:spAutoFit/>
          </a:bodyPr>
          <a:lstStyle/>
          <a:p>
            <a:r>
              <a:rPr lang="en-US" altLang="ko-KR" sz="1400" dirty="0">
                <a:solidFill>
                  <a:prstClr val="black"/>
                </a:solidFill>
                <a:latin typeface="Arial" panose="020B0604020202020204" pitchFamily="34" charset="0"/>
                <a:cs typeface="Arial" panose="020B0604020202020204" pitchFamily="34" charset="0"/>
              </a:rPr>
              <a:t>Outdoor Temperature</a:t>
            </a:r>
            <a:endParaRPr lang="ko-KR" altLang="en-US" sz="1400" dirty="0">
              <a:solidFill>
                <a:prstClr val="black"/>
              </a:solidFill>
              <a:latin typeface="Arial" panose="020B0604020202020204" pitchFamily="34" charset="0"/>
              <a:cs typeface="Arial" panose="020B0604020202020204" pitchFamily="34" charset="0"/>
            </a:endParaRPr>
          </a:p>
        </p:txBody>
      </p:sp>
      <p:cxnSp>
        <p:nvCxnSpPr>
          <p:cNvPr id="268" name="직선 화살표 연결선 267"/>
          <p:cNvCxnSpPr/>
          <p:nvPr/>
        </p:nvCxnSpPr>
        <p:spPr>
          <a:xfrm flipH="1" flipV="1">
            <a:off x="2870579" y="3109939"/>
            <a:ext cx="317108" cy="318892"/>
          </a:xfrm>
          <a:prstGeom prst="straightConnector1">
            <a:avLst/>
          </a:prstGeom>
          <a:ln w="6350" cap="rnd">
            <a:solidFill>
              <a:schemeClr val="tx1">
                <a:lumMod val="50000"/>
                <a:lumOff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69" name="직선 화살표 연결선 268"/>
          <p:cNvCxnSpPr/>
          <p:nvPr/>
        </p:nvCxnSpPr>
        <p:spPr>
          <a:xfrm>
            <a:off x="3134982" y="2276872"/>
            <a:ext cx="177757" cy="195554"/>
          </a:xfrm>
          <a:prstGeom prst="straightConnector1">
            <a:avLst/>
          </a:prstGeom>
          <a:ln w="6350" cap="rnd">
            <a:solidFill>
              <a:schemeClr val="tx1">
                <a:lumMod val="50000"/>
                <a:lumOff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70" name="TextBox 269"/>
          <p:cNvSpPr txBox="1"/>
          <p:nvPr/>
        </p:nvSpPr>
        <p:spPr>
          <a:xfrm>
            <a:off x="2078870" y="1899248"/>
            <a:ext cx="1272370" cy="523220"/>
          </a:xfrm>
          <a:prstGeom prst="rect">
            <a:avLst/>
          </a:prstGeom>
          <a:noFill/>
        </p:spPr>
        <p:txBody>
          <a:bodyPr wrap="square" rtlCol="0">
            <a:spAutoFit/>
          </a:bodyPr>
          <a:lstStyle/>
          <a:p>
            <a:r>
              <a:rPr lang="en-US" altLang="ko-KR" sz="1400" dirty="0">
                <a:solidFill>
                  <a:prstClr val="black"/>
                </a:solidFill>
                <a:latin typeface="Arial" panose="020B0604020202020204" pitchFamily="34" charset="0"/>
                <a:cs typeface="Arial" panose="020B0604020202020204" pitchFamily="34" charset="0"/>
              </a:rPr>
              <a:t>Room</a:t>
            </a:r>
          </a:p>
          <a:p>
            <a:r>
              <a:rPr lang="en-US" altLang="ko-KR" sz="1400" dirty="0">
                <a:solidFill>
                  <a:prstClr val="black"/>
                </a:solidFill>
                <a:latin typeface="Arial" panose="020B0604020202020204" pitchFamily="34" charset="0"/>
                <a:cs typeface="Arial" panose="020B0604020202020204" pitchFamily="34" charset="0"/>
              </a:rPr>
              <a:t>Temperature</a:t>
            </a:r>
            <a:endParaRPr lang="ko-KR" altLang="en-US" sz="1400" dirty="0">
              <a:solidFill>
                <a:prstClr val="black"/>
              </a:solidFill>
              <a:latin typeface="Arial" panose="020B0604020202020204" pitchFamily="34" charset="0"/>
              <a:cs typeface="Arial" panose="020B0604020202020204" pitchFamily="34" charset="0"/>
            </a:endParaRPr>
          </a:p>
        </p:txBody>
      </p:sp>
      <p:sp>
        <p:nvSpPr>
          <p:cNvPr id="271" name="TextBox 270"/>
          <p:cNvSpPr txBox="1"/>
          <p:nvPr/>
        </p:nvSpPr>
        <p:spPr>
          <a:xfrm>
            <a:off x="1265605" y="6343249"/>
            <a:ext cx="7066358" cy="400110"/>
          </a:xfrm>
          <a:prstGeom prst="rect">
            <a:avLst/>
          </a:prstGeom>
          <a:noFill/>
        </p:spPr>
        <p:txBody>
          <a:bodyPr wrap="none" rtlCol="0">
            <a:spAutoFit/>
          </a:bodyPr>
          <a:lstStyle/>
          <a:p>
            <a:r>
              <a:rPr lang="en-US" altLang="ko-KR" sz="1000" dirty="0">
                <a:solidFill>
                  <a:prstClr val="black"/>
                </a:solidFill>
                <a:latin typeface="Arial" panose="020B0604020202020204" pitchFamily="34" charset="0"/>
                <a:cs typeface="Arial" pitchFamily="34" charset="0"/>
              </a:rPr>
              <a:t>* This function is operated with ‘Auto’ mode in the wired remote control. (By embedded temperature sensor in OA and RA)</a:t>
            </a:r>
            <a:br>
              <a:rPr lang="en-US" altLang="ko-KR" sz="1000" dirty="0">
                <a:solidFill>
                  <a:prstClr val="black"/>
                </a:solidFill>
                <a:latin typeface="Arial" panose="020B0604020202020204" pitchFamily="34" charset="0"/>
                <a:cs typeface="Arial" pitchFamily="34" charset="0"/>
              </a:rPr>
            </a:br>
            <a:r>
              <a:rPr lang="en-US" altLang="ko-KR" sz="1000" dirty="0">
                <a:solidFill>
                  <a:prstClr val="black"/>
                </a:solidFill>
                <a:latin typeface="Arial" panose="020B0604020202020204" pitchFamily="34" charset="0"/>
                <a:cs typeface="Arial" pitchFamily="34" charset="0"/>
              </a:rPr>
              <a:t>** Energy saving rate can be differed depending on weather condition.</a:t>
            </a:r>
          </a:p>
        </p:txBody>
      </p:sp>
      <p:pic>
        <p:nvPicPr>
          <p:cNvPr id="109" name="그림 108"/>
          <p:cNvPicPr>
            <a:picLocks noChangeAspect="1"/>
          </p:cNvPicPr>
          <p:nvPr/>
        </p:nvPicPr>
        <p:blipFill rotWithShape="1">
          <a:blip r:embed="rId27"/>
          <a:srcRect l="6793" t="13965" r="5858" b="10493"/>
          <a:stretch/>
        </p:blipFill>
        <p:spPr>
          <a:xfrm rot="5400000">
            <a:off x="6868112" y="4635130"/>
            <a:ext cx="1118141" cy="1673946"/>
          </a:xfrm>
          <a:prstGeom prst="rect">
            <a:avLst/>
          </a:prstGeom>
        </p:spPr>
      </p:pic>
      <p:pic>
        <p:nvPicPr>
          <p:cNvPr id="110" name="그림 109"/>
          <p:cNvPicPr>
            <a:picLocks noChangeAspect="1"/>
          </p:cNvPicPr>
          <p:nvPr/>
        </p:nvPicPr>
        <p:blipFill rotWithShape="1">
          <a:blip r:embed="rId28"/>
          <a:srcRect l="7568" t="7585" r="23558" b="8412"/>
          <a:stretch/>
        </p:blipFill>
        <p:spPr>
          <a:xfrm rot="5400000">
            <a:off x="2549395" y="4580398"/>
            <a:ext cx="1130085" cy="1729740"/>
          </a:xfrm>
          <a:prstGeom prst="rect">
            <a:avLst/>
          </a:prstGeom>
        </p:spPr>
      </p:pic>
      <p:sp>
        <p:nvSpPr>
          <p:cNvPr id="200" name="TextBox 199"/>
          <p:cNvSpPr txBox="1"/>
          <p:nvPr/>
        </p:nvSpPr>
        <p:spPr>
          <a:xfrm>
            <a:off x="2504564" y="5086943"/>
            <a:ext cx="644110" cy="33855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Heat</a:t>
            </a:r>
            <a:br>
              <a:rPr lang="en-US" altLang="ko-KR" sz="800" dirty="0">
                <a:solidFill>
                  <a:prstClr val="black">
                    <a:lumMod val="65000"/>
                    <a:lumOff val="35000"/>
                  </a:prstClr>
                </a:solidFill>
                <a:latin typeface="Arial" panose="020B0604020202020204" pitchFamily="34" charset="0"/>
                <a:cs typeface="Arial" panose="020B0604020202020204" pitchFamily="34" charset="0"/>
              </a:rPr>
            </a:br>
            <a:r>
              <a:rPr lang="en-US" altLang="ko-KR" sz="800" dirty="0">
                <a:solidFill>
                  <a:prstClr val="black">
                    <a:lumMod val="65000"/>
                    <a:lumOff val="35000"/>
                  </a:prstClr>
                </a:solidFill>
                <a:latin typeface="Arial" panose="020B0604020202020204" pitchFamily="34" charset="0"/>
                <a:cs typeface="Arial" panose="020B0604020202020204" pitchFamily="34" charset="0"/>
              </a:rPr>
              <a:t>Exchanger</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2" name="그룹 1"/>
          <p:cNvGrpSpPr/>
          <p:nvPr/>
        </p:nvGrpSpPr>
        <p:grpSpPr>
          <a:xfrm>
            <a:off x="3100606" y="6060531"/>
            <a:ext cx="592757" cy="242184"/>
            <a:chOff x="3063037" y="5231117"/>
            <a:chExt cx="592757" cy="242184"/>
          </a:xfrm>
        </p:grpSpPr>
        <p:sp>
          <p:nvSpPr>
            <p:cNvPr id="201" name="TextBox 200"/>
            <p:cNvSpPr txBox="1"/>
            <p:nvPr/>
          </p:nvSpPr>
          <p:spPr>
            <a:xfrm>
              <a:off x="3063037" y="5257857"/>
              <a:ext cx="592757"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Damper</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cxnSp>
          <p:nvCxnSpPr>
            <p:cNvPr id="202" name="직선 연결선 201"/>
            <p:cNvCxnSpPr/>
            <p:nvPr/>
          </p:nvCxnSpPr>
          <p:spPr>
            <a:xfrm>
              <a:off x="3359415" y="5231117"/>
              <a:ext cx="0" cy="76681"/>
            </a:xfrm>
            <a:prstGeom prst="line">
              <a:avLst/>
            </a:prstGeom>
            <a:noFill/>
            <a:ln w="12700">
              <a:solidFill>
                <a:schemeClr val="tx1">
                  <a:lumMod val="50000"/>
                  <a:lumOff val="50000"/>
                </a:schemeClr>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grpSp>
      <p:sp>
        <p:nvSpPr>
          <p:cNvPr id="228" name="TextBox 227"/>
          <p:cNvSpPr txBox="1"/>
          <p:nvPr/>
        </p:nvSpPr>
        <p:spPr>
          <a:xfrm>
            <a:off x="46470" y="5157192"/>
            <a:ext cx="1223236" cy="523220"/>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r>
              <a:rPr lang="en-US" altLang="ko-KR" sz="1400" dirty="0">
                <a:solidFill>
                  <a:prstClr val="black">
                    <a:lumMod val="65000"/>
                    <a:lumOff val="35000"/>
                  </a:prstClr>
                </a:solidFill>
                <a:latin typeface="Arial" panose="020B0604020202020204" pitchFamily="34" charset="0"/>
                <a:cs typeface="Arial" panose="020B0604020202020204" pitchFamily="34" charset="0"/>
                <a:sym typeface="Wingdings" pitchFamily="2" charset="2"/>
              </a:rPr>
              <a:t>Seasonal </a:t>
            </a:r>
            <a:br>
              <a:rPr lang="en-US" altLang="ko-KR" sz="1400" dirty="0">
                <a:solidFill>
                  <a:prstClr val="black">
                    <a:lumMod val="65000"/>
                    <a:lumOff val="35000"/>
                  </a:prstClr>
                </a:solidFill>
                <a:latin typeface="Arial" panose="020B0604020202020204" pitchFamily="34" charset="0"/>
                <a:cs typeface="Arial" panose="020B0604020202020204" pitchFamily="34" charset="0"/>
                <a:sym typeface="Wingdings" pitchFamily="2" charset="2"/>
              </a:rPr>
            </a:br>
            <a:r>
              <a:rPr lang="en-US" altLang="ko-KR" sz="1400" dirty="0">
                <a:solidFill>
                  <a:prstClr val="black">
                    <a:lumMod val="65000"/>
                    <a:lumOff val="35000"/>
                  </a:prstClr>
                </a:solidFill>
                <a:latin typeface="Arial" panose="020B0604020202020204" pitchFamily="34" charset="0"/>
                <a:cs typeface="Arial" panose="020B0604020202020204" pitchFamily="34" charset="0"/>
                <a:sym typeface="Wingdings" pitchFamily="2" charset="2"/>
              </a:rPr>
              <a:t>Operation</a:t>
            </a:r>
          </a:p>
        </p:txBody>
      </p:sp>
      <p:grpSp>
        <p:nvGrpSpPr>
          <p:cNvPr id="234" name="그룹 233"/>
          <p:cNvGrpSpPr/>
          <p:nvPr/>
        </p:nvGrpSpPr>
        <p:grpSpPr>
          <a:xfrm>
            <a:off x="1631488" y="5883107"/>
            <a:ext cx="2951696" cy="246221"/>
            <a:chOff x="6129689" y="5767757"/>
            <a:chExt cx="2276826" cy="246221"/>
          </a:xfrm>
        </p:grpSpPr>
        <p:sp>
          <p:nvSpPr>
            <p:cNvPr id="235" name="TextBox 234"/>
            <p:cNvSpPr txBox="1"/>
            <p:nvPr/>
          </p:nvSpPr>
          <p:spPr>
            <a:xfrm>
              <a:off x="7912461" y="5767757"/>
              <a:ext cx="494054"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Indoor</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236" name="TextBox 235"/>
            <p:cNvSpPr txBox="1"/>
            <p:nvPr/>
          </p:nvSpPr>
          <p:spPr>
            <a:xfrm>
              <a:off x="6129689" y="5767757"/>
              <a:ext cx="494054"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Outdoor</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grpSp>
      <p:sp>
        <p:nvSpPr>
          <p:cNvPr id="114" name="TextBox 113"/>
          <p:cNvSpPr txBox="1"/>
          <p:nvPr/>
        </p:nvSpPr>
        <p:spPr>
          <a:xfrm>
            <a:off x="1882407" y="4965099"/>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E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15" name="TextBox 114"/>
          <p:cNvSpPr txBox="1"/>
          <p:nvPr/>
        </p:nvSpPr>
        <p:spPr>
          <a:xfrm>
            <a:off x="1882407" y="5664122"/>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O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16" name="TextBox 115"/>
          <p:cNvSpPr txBox="1"/>
          <p:nvPr/>
        </p:nvSpPr>
        <p:spPr>
          <a:xfrm>
            <a:off x="3937598" y="4965099"/>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S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17" name="TextBox 116"/>
          <p:cNvSpPr txBox="1"/>
          <p:nvPr/>
        </p:nvSpPr>
        <p:spPr>
          <a:xfrm>
            <a:off x="3937598" y="5664122"/>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R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19" name="TextBox 118"/>
          <p:cNvSpPr txBox="1"/>
          <p:nvPr/>
        </p:nvSpPr>
        <p:spPr>
          <a:xfrm>
            <a:off x="6978399" y="4931167"/>
            <a:ext cx="952989"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Heat  Exchanger</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22" name="TextBox 121"/>
          <p:cNvSpPr txBox="1"/>
          <p:nvPr/>
        </p:nvSpPr>
        <p:spPr>
          <a:xfrm>
            <a:off x="8157249" y="5360417"/>
            <a:ext cx="592757"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Damper</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143" name="그룹 142"/>
          <p:cNvGrpSpPr/>
          <p:nvPr/>
        </p:nvGrpSpPr>
        <p:grpSpPr>
          <a:xfrm>
            <a:off x="5972129" y="5883107"/>
            <a:ext cx="2951696" cy="246221"/>
            <a:chOff x="6129689" y="5767757"/>
            <a:chExt cx="2276826" cy="246221"/>
          </a:xfrm>
        </p:grpSpPr>
        <p:sp>
          <p:nvSpPr>
            <p:cNvPr id="144" name="TextBox 143"/>
            <p:cNvSpPr txBox="1"/>
            <p:nvPr/>
          </p:nvSpPr>
          <p:spPr>
            <a:xfrm>
              <a:off x="7912461" y="5767757"/>
              <a:ext cx="494054"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Indoor</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5" name="TextBox 144"/>
            <p:cNvSpPr txBox="1"/>
            <p:nvPr/>
          </p:nvSpPr>
          <p:spPr>
            <a:xfrm>
              <a:off x="6129689" y="5767757"/>
              <a:ext cx="494054" cy="246221"/>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dirty="0">
                  <a:solidFill>
                    <a:prstClr val="black">
                      <a:lumMod val="65000"/>
                      <a:lumOff val="35000"/>
                    </a:prstClr>
                  </a:solidFill>
                  <a:latin typeface="Arial" panose="020B0604020202020204" pitchFamily="34" charset="0"/>
                  <a:cs typeface="Arial" panose="020B0604020202020204" pitchFamily="34" charset="0"/>
                </a:rPr>
                <a:t>Outdoor</a:t>
              </a:r>
              <a:endParaRPr lang="ko-KR" altLang="en-US" dirty="0">
                <a:solidFill>
                  <a:prstClr val="black">
                    <a:lumMod val="65000"/>
                    <a:lumOff val="35000"/>
                  </a:prstClr>
                </a:solidFill>
                <a:latin typeface="Arial" panose="020B0604020202020204" pitchFamily="34" charset="0"/>
                <a:cs typeface="Arial" panose="020B0604020202020204" pitchFamily="34" charset="0"/>
              </a:endParaRPr>
            </a:p>
          </p:txBody>
        </p:sp>
      </p:grpSp>
      <p:sp>
        <p:nvSpPr>
          <p:cNvPr id="146" name="TextBox 145"/>
          <p:cNvSpPr txBox="1"/>
          <p:nvPr/>
        </p:nvSpPr>
        <p:spPr>
          <a:xfrm>
            <a:off x="6223048" y="4965099"/>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E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7" name="TextBox 146"/>
          <p:cNvSpPr txBox="1"/>
          <p:nvPr/>
        </p:nvSpPr>
        <p:spPr>
          <a:xfrm>
            <a:off x="6223048" y="5664122"/>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O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8" name="TextBox 147"/>
          <p:cNvSpPr txBox="1"/>
          <p:nvPr/>
        </p:nvSpPr>
        <p:spPr>
          <a:xfrm>
            <a:off x="8278239" y="4965099"/>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S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9" name="TextBox 148"/>
          <p:cNvSpPr txBox="1"/>
          <p:nvPr/>
        </p:nvSpPr>
        <p:spPr>
          <a:xfrm>
            <a:off x="8278239" y="5664122"/>
            <a:ext cx="328881" cy="21544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lgn="ct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RA</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cxnSp>
        <p:nvCxnSpPr>
          <p:cNvPr id="8" name="꺾인 연결선 7"/>
          <p:cNvCxnSpPr>
            <a:endCxn id="109" idx="0"/>
          </p:cNvCxnSpPr>
          <p:nvPr/>
        </p:nvCxnSpPr>
        <p:spPr>
          <a:xfrm flipV="1">
            <a:off x="7838805" y="5472104"/>
            <a:ext cx="425351" cy="226357"/>
          </a:xfrm>
          <a:prstGeom prst="bentConnector3">
            <a:avLst>
              <a:gd name="adj1" fmla="val -1164"/>
            </a:avLst>
          </a:prstGeom>
          <a:noFill/>
          <a:ln w="12700">
            <a:solidFill>
              <a:schemeClr val="tx1">
                <a:lumMod val="50000"/>
                <a:lumOff val="50000"/>
              </a:schemeClr>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150" name="TextBox 149"/>
          <p:cNvSpPr txBox="1"/>
          <p:nvPr/>
        </p:nvSpPr>
        <p:spPr>
          <a:xfrm>
            <a:off x="3885066" y="5246728"/>
            <a:ext cx="1047045" cy="338554"/>
          </a:xfrm>
          <a:prstGeom prst="rect">
            <a:avLst/>
          </a:prstGeom>
        </p:spPr>
        <p:txBody>
          <a:bodyPr wrap="square">
            <a:spAutoFit/>
            <a:scene3d>
              <a:camera prst="orthographicFront"/>
              <a:lightRig rig="threePt" dir="t"/>
            </a:scene3d>
            <a:sp3d extrusionH="50800">
              <a:bevelT w="1270" h="1270"/>
            </a:sp3d>
          </a:bodyPr>
          <a:lstStyle>
            <a:defPPr>
              <a:defRPr lang="ko-KR"/>
            </a:defPPr>
            <a:lvl1pPr indent="0" fontAlgn="base">
              <a:spcBef>
                <a:spcPct val="0"/>
              </a:spcBef>
              <a:spcAft>
                <a:spcPts val="200"/>
              </a:spcAft>
              <a:buFont typeface="Arial" panose="020B0604020202020204" pitchFamily="34" charset="0"/>
              <a:buNone/>
              <a:defRPr kumimoji="1" sz="1000" b="1" spc="-80">
                <a:solidFill>
                  <a:schemeClr val="tx1">
                    <a:lumMod val="65000"/>
                    <a:lumOff val="35000"/>
                  </a:schemeClr>
                </a:solidFill>
                <a:latin typeface="맑은 고딕" panose="020B0503020000020004" pitchFamily="50" charset="-127"/>
                <a:ea typeface="맑은 고딕" panose="020B0503020000020004" pitchFamily="50" charset="-127"/>
              </a:defRPr>
            </a:lvl1pPr>
            <a:lvl2pPr marL="742950" indent="-285750" eaLnBrk="0" hangingPunct="0">
              <a:defRPr kumimoji="1">
                <a:latin typeface="굴림" pitchFamily="50" charset="-127"/>
                <a:ea typeface="굴림" pitchFamily="50" charset="-127"/>
              </a:defRPr>
            </a:lvl2pPr>
            <a:lvl3pPr marL="1143000" indent="-228600" eaLnBrk="0" hangingPunct="0">
              <a:defRPr kumimoji="1">
                <a:latin typeface="굴림" pitchFamily="50" charset="-127"/>
                <a:ea typeface="굴림" pitchFamily="50" charset="-127"/>
              </a:defRPr>
            </a:lvl3pPr>
            <a:lvl4pPr marL="1600200" indent="-228600" eaLnBrk="0" hangingPunct="0">
              <a:defRPr kumimoji="1">
                <a:latin typeface="굴림" pitchFamily="50" charset="-127"/>
                <a:ea typeface="굴림" pitchFamily="50" charset="-127"/>
              </a:defRPr>
            </a:lvl4pPr>
            <a:lvl5pPr marL="2057400" indent="-228600" eaLnBrk="0" hangingPunct="0">
              <a:defRPr kumimoji="1">
                <a:latin typeface="굴림" pitchFamily="50" charset="-127"/>
                <a:ea typeface="굴림" pitchFamily="50" charset="-127"/>
              </a:defRPr>
            </a:lvl5pPr>
            <a:lvl6pPr marL="2514600" indent="-228600" eaLnBrk="0" fontAlgn="base" hangingPunct="0">
              <a:spcBef>
                <a:spcPct val="0"/>
              </a:spcBef>
              <a:spcAft>
                <a:spcPct val="0"/>
              </a:spcAft>
              <a:defRPr kumimoji="1">
                <a:latin typeface="굴림" pitchFamily="50" charset="-127"/>
                <a:ea typeface="굴림" pitchFamily="50" charset="-127"/>
              </a:defRPr>
            </a:lvl6pPr>
            <a:lvl7pPr marL="2971800" indent="-228600" eaLnBrk="0" fontAlgn="base" hangingPunct="0">
              <a:spcBef>
                <a:spcPct val="0"/>
              </a:spcBef>
              <a:spcAft>
                <a:spcPct val="0"/>
              </a:spcAft>
              <a:defRPr kumimoji="1">
                <a:latin typeface="굴림" pitchFamily="50" charset="-127"/>
                <a:ea typeface="굴림" pitchFamily="50" charset="-127"/>
              </a:defRPr>
            </a:lvl7pPr>
            <a:lvl8pPr marL="3429000" indent="-228600" eaLnBrk="0" fontAlgn="base" hangingPunct="0">
              <a:spcBef>
                <a:spcPct val="0"/>
              </a:spcBef>
              <a:spcAft>
                <a:spcPct val="0"/>
              </a:spcAft>
              <a:defRPr kumimoji="1">
                <a:latin typeface="굴림" pitchFamily="50" charset="-127"/>
                <a:ea typeface="굴림" pitchFamily="50" charset="-127"/>
              </a:defRPr>
            </a:lvl8pPr>
            <a:lvl9pPr marL="3886200" indent="-228600" eaLnBrk="0" fontAlgn="base" hangingPunct="0">
              <a:spcBef>
                <a:spcPct val="0"/>
              </a:spcBef>
              <a:spcAft>
                <a:spcPct val="0"/>
              </a:spcAft>
              <a:defRPr kumimoji="1">
                <a:latin typeface="굴림" pitchFamily="50" charset="-127"/>
                <a:ea typeface="굴림" pitchFamily="50" charset="-127"/>
              </a:defRPr>
            </a:lvl9pPr>
          </a:lstStyle>
          <a:p>
            <a:pP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Separated</a:t>
            </a:r>
          </a:p>
          <a:p>
            <a:pPr>
              <a:spcAft>
                <a:spcPts val="0"/>
              </a:spcAft>
            </a:pPr>
            <a:r>
              <a:rPr lang="en-US" altLang="ko-KR" sz="800" dirty="0">
                <a:solidFill>
                  <a:prstClr val="black">
                    <a:lumMod val="65000"/>
                    <a:lumOff val="35000"/>
                  </a:prstClr>
                </a:solidFill>
                <a:latin typeface="Arial" panose="020B0604020202020204" pitchFamily="34" charset="0"/>
                <a:cs typeface="Arial" panose="020B0604020202020204" pitchFamily="34" charset="0"/>
              </a:rPr>
              <a:t>Airflow passages</a:t>
            </a:r>
            <a:endParaRPr lang="ko-KR" altLang="en-US" sz="800" dirty="0">
              <a:solidFill>
                <a:prstClr val="black">
                  <a:lumMod val="65000"/>
                  <a:lumOff val="35000"/>
                </a:prstClr>
              </a:solidFill>
              <a:latin typeface="Arial" panose="020B0604020202020204" pitchFamily="34" charset="0"/>
              <a:cs typeface="Arial" panose="020B0604020202020204" pitchFamily="34" charset="0"/>
            </a:endParaRPr>
          </a:p>
        </p:txBody>
      </p:sp>
      <p:cxnSp>
        <p:nvCxnSpPr>
          <p:cNvPr id="15" name="직선 연결선 14"/>
          <p:cNvCxnSpPr>
            <a:endCxn id="110" idx="0"/>
          </p:cNvCxnSpPr>
          <p:nvPr/>
        </p:nvCxnSpPr>
        <p:spPr>
          <a:xfrm>
            <a:off x="3515566" y="5246728"/>
            <a:ext cx="463742" cy="198541"/>
          </a:xfrm>
          <a:prstGeom prst="line">
            <a:avLst/>
          </a:prstGeom>
          <a:noFill/>
          <a:ln w="12700">
            <a:solidFill>
              <a:schemeClr val="tx1">
                <a:lumMod val="50000"/>
                <a:lumOff val="50000"/>
              </a:schemeClr>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422740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그룹 99">
            <a:extLst>
              <a:ext uri="{FF2B5EF4-FFF2-40B4-BE49-F238E27FC236}">
                <a16:creationId xmlns:a16="http://schemas.microsoft.com/office/drawing/2014/main" id="{03CABE69-C3A3-B257-4C40-E58791DFA09E}"/>
              </a:ext>
            </a:extLst>
          </p:cNvPr>
          <p:cNvGrpSpPr/>
          <p:nvPr/>
        </p:nvGrpSpPr>
        <p:grpSpPr>
          <a:xfrm>
            <a:off x="903651" y="2225838"/>
            <a:ext cx="7374528" cy="2279550"/>
            <a:chOff x="573487" y="5045362"/>
            <a:chExt cx="4295033" cy="1485473"/>
          </a:xfrm>
        </p:grpSpPr>
        <p:grpSp>
          <p:nvGrpSpPr>
            <p:cNvPr id="23" name="그룹 100">
              <a:extLst>
                <a:ext uri="{FF2B5EF4-FFF2-40B4-BE49-F238E27FC236}">
                  <a16:creationId xmlns:a16="http://schemas.microsoft.com/office/drawing/2014/main" id="{63465737-96F2-CD57-AD92-7DF17A50D38F}"/>
                </a:ext>
              </a:extLst>
            </p:cNvPr>
            <p:cNvGrpSpPr/>
            <p:nvPr/>
          </p:nvGrpSpPr>
          <p:grpSpPr>
            <a:xfrm>
              <a:off x="1085875" y="5045362"/>
              <a:ext cx="1639241" cy="1318467"/>
              <a:chOff x="2072680" y="4978759"/>
              <a:chExt cx="1639241" cy="1318467"/>
            </a:xfrm>
          </p:grpSpPr>
          <p:pic>
            <p:nvPicPr>
              <p:cNvPr id="30" name="Picture 2">
                <a:extLst>
                  <a:ext uri="{FF2B5EF4-FFF2-40B4-BE49-F238E27FC236}">
                    <a16:creationId xmlns:a16="http://schemas.microsoft.com/office/drawing/2014/main" id="{3E6324BB-AE65-1ED5-7372-31C499C8C03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23090" y="4978759"/>
                <a:ext cx="1488831" cy="1318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1" name="직선 화살표 연결선 108">
                <a:extLst>
                  <a:ext uri="{FF2B5EF4-FFF2-40B4-BE49-F238E27FC236}">
                    <a16:creationId xmlns:a16="http://schemas.microsoft.com/office/drawing/2014/main" id="{96D40A31-0565-0C2E-B54C-D95BD3B437A6}"/>
                  </a:ext>
                </a:extLst>
              </p:cNvPr>
              <p:cNvCxnSpPr/>
              <p:nvPr/>
            </p:nvCxnSpPr>
            <p:spPr>
              <a:xfrm flipH="1">
                <a:off x="3080793" y="6021288"/>
                <a:ext cx="576063" cy="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직선 화살표 연결선 109">
                <a:extLst>
                  <a:ext uri="{FF2B5EF4-FFF2-40B4-BE49-F238E27FC236}">
                    <a16:creationId xmlns:a16="http://schemas.microsoft.com/office/drawing/2014/main" id="{C3283D9B-AD5B-1A96-7B96-F5CF30F291EF}"/>
                  </a:ext>
                </a:extLst>
              </p:cNvPr>
              <p:cNvCxnSpPr/>
              <p:nvPr/>
            </p:nvCxnSpPr>
            <p:spPr>
              <a:xfrm flipH="1">
                <a:off x="2072680" y="5276221"/>
                <a:ext cx="485654" cy="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직선 화살표 연결선 110">
                <a:extLst>
                  <a:ext uri="{FF2B5EF4-FFF2-40B4-BE49-F238E27FC236}">
                    <a16:creationId xmlns:a16="http://schemas.microsoft.com/office/drawing/2014/main" id="{D9D4211B-6CB4-7667-8FDE-EE921EF93BBE}"/>
                  </a:ext>
                </a:extLst>
              </p:cNvPr>
              <p:cNvCxnSpPr/>
              <p:nvPr/>
            </p:nvCxnSpPr>
            <p:spPr>
              <a:xfrm flipH="1" flipV="1">
                <a:off x="2563994" y="5360888"/>
                <a:ext cx="516798" cy="582712"/>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D1CADFED-D731-3C8E-5BB5-C87B2F0720CE}"/>
                </a:ext>
              </a:extLst>
            </p:cNvPr>
            <p:cNvSpPr txBox="1"/>
            <p:nvPr/>
          </p:nvSpPr>
          <p:spPr>
            <a:xfrm>
              <a:off x="2598043" y="5980169"/>
              <a:ext cx="421910" cy="215444"/>
            </a:xfrm>
            <a:prstGeom prst="rect">
              <a:avLst/>
            </a:prstGeom>
            <a:noFill/>
          </p:spPr>
          <p:txBody>
            <a:bodyPr wrap="none" rtlCol="0">
              <a:spAutoFit/>
            </a:bodyPr>
            <a:lstStyle/>
            <a:p>
              <a:r>
                <a:rPr lang="en-US" altLang="ko-KR" sz="800" dirty="0">
                  <a:solidFill>
                    <a:srgbClr val="008000"/>
                  </a:solidFill>
                  <a:latin typeface="Arial Narrow" pitchFamily="34" charset="0"/>
                  <a:ea typeface="LG스마트체 Regular" pitchFamily="50" charset="-127"/>
                </a:rPr>
                <a:t>Indoor</a:t>
              </a:r>
              <a:endParaRPr lang="ko-KR" altLang="en-US" sz="800" dirty="0">
                <a:solidFill>
                  <a:srgbClr val="008000"/>
                </a:solidFill>
                <a:latin typeface="Arial Narrow" pitchFamily="34" charset="0"/>
                <a:ea typeface="LG스마트체 Regular" pitchFamily="50" charset="-127"/>
              </a:endParaRPr>
            </a:p>
          </p:txBody>
        </p:sp>
        <p:sp>
          <p:nvSpPr>
            <p:cNvPr id="25" name="TextBox 24">
              <a:extLst>
                <a:ext uri="{FF2B5EF4-FFF2-40B4-BE49-F238E27FC236}">
                  <a16:creationId xmlns:a16="http://schemas.microsoft.com/office/drawing/2014/main" id="{27BC9D38-6C23-35AC-0B47-7E777E13750C}"/>
                </a:ext>
              </a:extLst>
            </p:cNvPr>
            <p:cNvSpPr txBox="1"/>
            <p:nvPr/>
          </p:nvSpPr>
          <p:spPr>
            <a:xfrm>
              <a:off x="732182" y="5132608"/>
              <a:ext cx="487634" cy="215444"/>
            </a:xfrm>
            <a:prstGeom prst="rect">
              <a:avLst/>
            </a:prstGeom>
            <a:noFill/>
          </p:spPr>
          <p:txBody>
            <a:bodyPr wrap="none" rtlCol="0">
              <a:spAutoFit/>
            </a:bodyPr>
            <a:lstStyle/>
            <a:p>
              <a:r>
                <a:rPr lang="en-US" altLang="ko-KR" sz="800">
                  <a:solidFill>
                    <a:srgbClr val="008000"/>
                  </a:solidFill>
                  <a:latin typeface="Arial Narrow" pitchFamily="34" charset="0"/>
                  <a:ea typeface="LG스마트체 Regular" pitchFamily="50" charset="-127"/>
                </a:rPr>
                <a:t>Outdoor</a:t>
              </a:r>
              <a:endParaRPr lang="ko-KR" altLang="en-US" sz="800">
                <a:solidFill>
                  <a:srgbClr val="008000"/>
                </a:solidFill>
                <a:latin typeface="Arial Narrow" pitchFamily="34" charset="0"/>
                <a:ea typeface="LG스마트체 Regular" pitchFamily="50" charset="-127"/>
              </a:endParaRPr>
            </a:p>
          </p:txBody>
        </p:sp>
        <p:cxnSp>
          <p:nvCxnSpPr>
            <p:cNvPr id="26" name="직선 연결선 103">
              <a:extLst>
                <a:ext uri="{FF2B5EF4-FFF2-40B4-BE49-F238E27FC236}">
                  <a16:creationId xmlns:a16="http://schemas.microsoft.com/office/drawing/2014/main" id="{B2B3575F-AD7F-1B01-74EF-BB2B287E3B55}"/>
                </a:ext>
              </a:extLst>
            </p:cNvPr>
            <p:cNvCxnSpPr/>
            <p:nvPr/>
          </p:nvCxnSpPr>
          <p:spPr>
            <a:xfrm flipH="1" flipV="1">
              <a:off x="1229891" y="5655843"/>
              <a:ext cx="504056" cy="144016"/>
            </a:xfrm>
            <a:prstGeom prst="line">
              <a:avLst/>
            </a:prstGeom>
            <a:ln>
              <a:solidFill>
                <a:srgbClr val="008000"/>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224C2BF-FF2E-6466-E3A3-A1EFA1807E2A}"/>
                </a:ext>
              </a:extLst>
            </p:cNvPr>
            <p:cNvSpPr txBox="1"/>
            <p:nvPr/>
          </p:nvSpPr>
          <p:spPr>
            <a:xfrm>
              <a:off x="573487" y="5457343"/>
              <a:ext cx="785793" cy="215444"/>
            </a:xfrm>
            <a:prstGeom prst="rect">
              <a:avLst/>
            </a:prstGeom>
            <a:noFill/>
          </p:spPr>
          <p:txBody>
            <a:bodyPr wrap="none" rtlCol="0">
              <a:spAutoFit/>
            </a:bodyPr>
            <a:lstStyle/>
            <a:p>
              <a:r>
                <a:rPr lang="en-US" altLang="ko-KR" sz="800" dirty="0">
                  <a:solidFill>
                    <a:srgbClr val="008000"/>
                  </a:solidFill>
                  <a:latin typeface="Arial Narrow" pitchFamily="34" charset="0"/>
                  <a:ea typeface="LG스마트체 Regular" pitchFamily="50" charset="-127"/>
                </a:rPr>
                <a:t>Heat Exchanger</a:t>
              </a:r>
              <a:endParaRPr lang="ko-KR" altLang="en-US" sz="800" dirty="0">
                <a:solidFill>
                  <a:srgbClr val="008000"/>
                </a:solidFill>
                <a:latin typeface="Arial Narrow" pitchFamily="34" charset="0"/>
                <a:ea typeface="LG스마트체 Regular" pitchFamily="50" charset="-127"/>
              </a:endParaRPr>
            </a:p>
          </p:txBody>
        </p:sp>
        <p:sp>
          <p:nvSpPr>
            <p:cNvPr id="28" name="TextBox 27">
              <a:extLst>
                <a:ext uri="{FF2B5EF4-FFF2-40B4-BE49-F238E27FC236}">
                  <a16:creationId xmlns:a16="http://schemas.microsoft.com/office/drawing/2014/main" id="{9407732D-F703-C851-60FC-5A6B3E2DE416}"/>
                </a:ext>
              </a:extLst>
            </p:cNvPr>
            <p:cNvSpPr txBox="1"/>
            <p:nvPr/>
          </p:nvSpPr>
          <p:spPr>
            <a:xfrm>
              <a:off x="2014897" y="6315391"/>
              <a:ext cx="780983" cy="215444"/>
            </a:xfrm>
            <a:prstGeom prst="rect">
              <a:avLst/>
            </a:prstGeom>
            <a:noFill/>
          </p:spPr>
          <p:txBody>
            <a:bodyPr wrap="none" rtlCol="0">
              <a:spAutoFit/>
            </a:bodyPr>
            <a:lstStyle/>
            <a:p>
              <a:r>
                <a:rPr lang="en-US" altLang="ko-KR" sz="800">
                  <a:solidFill>
                    <a:srgbClr val="008000"/>
                  </a:solidFill>
                  <a:latin typeface="Arial Narrow" pitchFamily="34" charset="0"/>
                  <a:ea typeface="LG스마트체 Regular" pitchFamily="50" charset="-127"/>
                </a:rPr>
                <a:t>Bypass Damper</a:t>
              </a:r>
              <a:endParaRPr lang="ko-KR" altLang="en-US" sz="800">
                <a:solidFill>
                  <a:srgbClr val="008000"/>
                </a:solidFill>
                <a:latin typeface="Arial Narrow" pitchFamily="34" charset="0"/>
                <a:ea typeface="LG스마트체 Regular" pitchFamily="50" charset="-127"/>
              </a:endParaRPr>
            </a:p>
          </p:txBody>
        </p:sp>
        <p:sp>
          <p:nvSpPr>
            <p:cNvPr id="29" name="TextBox 28">
              <a:extLst>
                <a:ext uri="{FF2B5EF4-FFF2-40B4-BE49-F238E27FC236}">
                  <a16:creationId xmlns:a16="http://schemas.microsoft.com/office/drawing/2014/main" id="{5D2C42D0-829A-10AE-73B4-EE0C800F20E3}"/>
                </a:ext>
              </a:extLst>
            </p:cNvPr>
            <p:cNvSpPr txBox="1"/>
            <p:nvPr/>
          </p:nvSpPr>
          <p:spPr>
            <a:xfrm>
              <a:off x="4087537" y="6315391"/>
              <a:ext cx="780983" cy="215444"/>
            </a:xfrm>
            <a:prstGeom prst="rect">
              <a:avLst/>
            </a:prstGeom>
            <a:noFill/>
          </p:spPr>
          <p:txBody>
            <a:bodyPr wrap="none" rtlCol="0">
              <a:spAutoFit/>
            </a:bodyPr>
            <a:lstStyle/>
            <a:p>
              <a:r>
                <a:rPr lang="en-US" altLang="ko-KR" sz="800">
                  <a:solidFill>
                    <a:srgbClr val="008000"/>
                  </a:solidFill>
                  <a:latin typeface="Arial Narrow" pitchFamily="34" charset="0"/>
                  <a:ea typeface="LG스마트체 Regular" pitchFamily="50" charset="-127"/>
                </a:rPr>
                <a:t>Bypass Damper</a:t>
              </a:r>
              <a:endParaRPr lang="ko-KR" altLang="en-US" sz="800">
                <a:solidFill>
                  <a:srgbClr val="008000"/>
                </a:solidFill>
                <a:latin typeface="Arial Narrow" pitchFamily="34" charset="0"/>
                <a:ea typeface="LG스마트체 Regular" pitchFamily="50" charset="-127"/>
              </a:endParaRPr>
            </a:p>
          </p:txBody>
        </p:sp>
      </p:grpSp>
      <p:grpSp>
        <p:nvGrpSpPr>
          <p:cNvPr id="7" name="그룹 111">
            <a:extLst>
              <a:ext uri="{FF2B5EF4-FFF2-40B4-BE49-F238E27FC236}">
                <a16:creationId xmlns:a16="http://schemas.microsoft.com/office/drawing/2014/main" id="{CBA88EF8-516F-D09D-AA6E-70385426A855}"/>
              </a:ext>
            </a:extLst>
          </p:cNvPr>
          <p:cNvGrpSpPr/>
          <p:nvPr/>
        </p:nvGrpSpPr>
        <p:grpSpPr>
          <a:xfrm>
            <a:off x="4977749" y="2211355"/>
            <a:ext cx="3793780" cy="2037752"/>
            <a:chOff x="2764323" y="5035924"/>
            <a:chExt cx="2209553" cy="1327905"/>
          </a:xfrm>
        </p:grpSpPr>
        <p:grpSp>
          <p:nvGrpSpPr>
            <p:cNvPr id="16" name="그룹 112">
              <a:extLst>
                <a:ext uri="{FF2B5EF4-FFF2-40B4-BE49-F238E27FC236}">
                  <a16:creationId xmlns:a16="http://schemas.microsoft.com/office/drawing/2014/main" id="{4EE3FFB3-3D2C-E58A-D752-A450BBFDB98E}"/>
                </a:ext>
              </a:extLst>
            </p:cNvPr>
            <p:cNvGrpSpPr/>
            <p:nvPr/>
          </p:nvGrpSpPr>
          <p:grpSpPr>
            <a:xfrm>
              <a:off x="3030091" y="5045362"/>
              <a:ext cx="1639241" cy="1318467"/>
              <a:chOff x="2072680" y="4978759"/>
              <a:chExt cx="1639241" cy="1318467"/>
            </a:xfrm>
          </p:grpSpPr>
          <p:pic>
            <p:nvPicPr>
              <p:cNvPr id="19" name="Picture 2">
                <a:extLst>
                  <a:ext uri="{FF2B5EF4-FFF2-40B4-BE49-F238E27FC236}">
                    <a16:creationId xmlns:a16="http://schemas.microsoft.com/office/drawing/2014/main" id="{9751D269-C142-2C5F-45D5-127D1EBBE9A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23090" y="4978759"/>
                <a:ext cx="1488831" cy="1318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직선 화살표 연결선 116">
                <a:extLst>
                  <a:ext uri="{FF2B5EF4-FFF2-40B4-BE49-F238E27FC236}">
                    <a16:creationId xmlns:a16="http://schemas.microsoft.com/office/drawing/2014/main" id="{5712D7AA-B71A-FA74-4408-8AF4352C4C8E}"/>
                  </a:ext>
                </a:extLst>
              </p:cNvPr>
              <p:cNvCxnSpPr/>
              <p:nvPr/>
            </p:nvCxnSpPr>
            <p:spPr>
              <a:xfrm flipH="1">
                <a:off x="3368824" y="6021288"/>
                <a:ext cx="288032" cy="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직선 화살표 연결선 117">
                <a:extLst>
                  <a:ext uri="{FF2B5EF4-FFF2-40B4-BE49-F238E27FC236}">
                    <a16:creationId xmlns:a16="http://schemas.microsoft.com/office/drawing/2014/main" id="{DE318127-6869-7043-FDC1-82D03D1F854D}"/>
                  </a:ext>
                </a:extLst>
              </p:cNvPr>
              <p:cNvCxnSpPr/>
              <p:nvPr/>
            </p:nvCxnSpPr>
            <p:spPr>
              <a:xfrm flipH="1">
                <a:off x="2072680" y="5191100"/>
                <a:ext cx="1224136" cy="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직선 화살표 연결선 118">
                <a:extLst>
                  <a:ext uri="{FF2B5EF4-FFF2-40B4-BE49-F238E27FC236}">
                    <a16:creationId xmlns:a16="http://schemas.microsoft.com/office/drawing/2014/main" id="{FFDC3B62-B0D5-9516-EB48-039A973D92F1}"/>
                  </a:ext>
                </a:extLst>
              </p:cNvPr>
              <p:cNvCxnSpPr/>
              <p:nvPr/>
            </p:nvCxnSpPr>
            <p:spPr>
              <a:xfrm flipV="1">
                <a:off x="3368824" y="5162768"/>
                <a:ext cx="0" cy="86106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C6EE72A9-FEDC-8404-DD76-FB2B66FEB8DC}"/>
                </a:ext>
              </a:extLst>
            </p:cNvPr>
            <p:cNvSpPr txBox="1"/>
            <p:nvPr/>
          </p:nvSpPr>
          <p:spPr>
            <a:xfrm>
              <a:off x="4551966" y="5967241"/>
              <a:ext cx="421910" cy="215444"/>
            </a:xfrm>
            <a:prstGeom prst="rect">
              <a:avLst/>
            </a:prstGeom>
            <a:noFill/>
          </p:spPr>
          <p:txBody>
            <a:bodyPr wrap="none" rtlCol="0">
              <a:spAutoFit/>
            </a:bodyPr>
            <a:lstStyle/>
            <a:p>
              <a:r>
                <a:rPr lang="en-US" altLang="ko-KR" sz="800" dirty="0">
                  <a:solidFill>
                    <a:srgbClr val="008000"/>
                  </a:solidFill>
                  <a:latin typeface="Arial Narrow" pitchFamily="34" charset="0"/>
                  <a:ea typeface="LG스마트체 Regular" pitchFamily="50" charset="-127"/>
                </a:rPr>
                <a:t>Indoor</a:t>
              </a:r>
              <a:endParaRPr lang="ko-KR" altLang="en-US" sz="800" dirty="0">
                <a:solidFill>
                  <a:srgbClr val="008000"/>
                </a:solidFill>
                <a:latin typeface="Arial Narrow" pitchFamily="34" charset="0"/>
                <a:ea typeface="LG스마트체 Regular" pitchFamily="50" charset="-127"/>
              </a:endParaRPr>
            </a:p>
          </p:txBody>
        </p:sp>
        <p:sp>
          <p:nvSpPr>
            <p:cNvPr id="18" name="TextBox 17">
              <a:extLst>
                <a:ext uri="{FF2B5EF4-FFF2-40B4-BE49-F238E27FC236}">
                  <a16:creationId xmlns:a16="http://schemas.microsoft.com/office/drawing/2014/main" id="{53F7A955-374A-CC58-2B49-3C6211AFC0B2}"/>
                </a:ext>
              </a:extLst>
            </p:cNvPr>
            <p:cNvSpPr txBox="1"/>
            <p:nvPr/>
          </p:nvSpPr>
          <p:spPr>
            <a:xfrm>
              <a:off x="2764323" y="5035924"/>
              <a:ext cx="487634" cy="215444"/>
            </a:xfrm>
            <a:prstGeom prst="rect">
              <a:avLst/>
            </a:prstGeom>
            <a:noFill/>
          </p:spPr>
          <p:txBody>
            <a:bodyPr wrap="none" rtlCol="0">
              <a:spAutoFit/>
            </a:bodyPr>
            <a:lstStyle/>
            <a:p>
              <a:r>
                <a:rPr lang="en-US" altLang="ko-KR" sz="800">
                  <a:solidFill>
                    <a:srgbClr val="008000"/>
                  </a:solidFill>
                  <a:latin typeface="Arial Narrow" pitchFamily="34" charset="0"/>
                  <a:ea typeface="LG스마트체 Regular" pitchFamily="50" charset="-127"/>
                </a:rPr>
                <a:t>Outdoor</a:t>
              </a:r>
              <a:endParaRPr lang="ko-KR" altLang="en-US" sz="800">
                <a:solidFill>
                  <a:srgbClr val="008000"/>
                </a:solidFill>
                <a:latin typeface="Arial Narrow" pitchFamily="34" charset="0"/>
                <a:ea typeface="LG스마트체 Regular" pitchFamily="50" charset="-127"/>
              </a:endParaRPr>
            </a:p>
          </p:txBody>
        </p:sp>
      </p:grpSp>
      <p:sp>
        <p:nvSpPr>
          <p:cNvPr id="8" name="타원 119">
            <a:extLst>
              <a:ext uri="{FF2B5EF4-FFF2-40B4-BE49-F238E27FC236}">
                <a16:creationId xmlns:a16="http://schemas.microsoft.com/office/drawing/2014/main" id="{67CED511-2D80-FF83-ABD8-855E3877D998}"/>
              </a:ext>
            </a:extLst>
          </p:cNvPr>
          <p:cNvSpPr/>
          <p:nvPr/>
        </p:nvSpPr>
        <p:spPr>
          <a:xfrm>
            <a:off x="3514332" y="3419775"/>
            <a:ext cx="865459" cy="773505"/>
          </a:xfrm>
          <a:prstGeom prst="ellipse">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9" name="직선 화살표 연결선 120">
            <a:extLst>
              <a:ext uri="{FF2B5EF4-FFF2-40B4-BE49-F238E27FC236}">
                <a16:creationId xmlns:a16="http://schemas.microsoft.com/office/drawing/2014/main" id="{8EA64965-D16A-D7CB-D106-2951DEBFB1A2}"/>
              </a:ext>
            </a:extLst>
          </p:cNvPr>
          <p:cNvCxnSpPr/>
          <p:nvPr/>
        </p:nvCxnSpPr>
        <p:spPr>
          <a:xfrm flipV="1">
            <a:off x="1811982" y="3819804"/>
            <a:ext cx="747627" cy="26729"/>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직선 화살표 연결선 121">
            <a:extLst>
              <a:ext uri="{FF2B5EF4-FFF2-40B4-BE49-F238E27FC236}">
                <a16:creationId xmlns:a16="http://schemas.microsoft.com/office/drawing/2014/main" id="{9F928535-21B5-C7E2-FE8F-494A7EC6AE3B}"/>
              </a:ext>
            </a:extLst>
          </p:cNvPr>
          <p:cNvCxnSpPr/>
          <p:nvPr/>
        </p:nvCxnSpPr>
        <p:spPr>
          <a:xfrm>
            <a:off x="4146104" y="2604826"/>
            <a:ext cx="515696" cy="16061"/>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직선 화살표 연결선 122">
            <a:extLst>
              <a:ext uri="{FF2B5EF4-FFF2-40B4-BE49-F238E27FC236}">
                <a16:creationId xmlns:a16="http://schemas.microsoft.com/office/drawing/2014/main" id="{A6D0ABD7-FFC1-D6A1-C19A-77E2505B1144}"/>
              </a:ext>
            </a:extLst>
          </p:cNvPr>
          <p:cNvCxnSpPr/>
          <p:nvPr/>
        </p:nvCxnSpPr>
        <p:spPr>
          <a:xfrm flipV="1">
            <a:off x="2649323" y="2779602"/>
            <a:ext cx="1118954" cy="919930"/>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직선 화살표 연결선 123">
            <a:extLst>
              <a:ext uri="{FF2B5EF4-FFF2-40B4-BE49-F238E27FC236}">
                <a16:creationId xmlns:a16="http://schemas.microsoft.com/office/drawing/2014/main" id="{E5FD5EAF-8BDE-6021-8BC1-2056AA64B222}"/>
              </a:ext>
            </a:extLst>
          </p:cNvPr>
          <p:cNvCxnSpPr/>
          <p:nvPr/>
        </p:nvCxnSpPr>
        <p:spPr>
          <a:xfrm flipV="1">
            <a:off x="5555372" y="3780843"/>
            <a:ext cx="747627" cy="26729"/>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직선 화살표 연결선 124">
            <a:extLst>
              <a:ext uri="{FF2B5EF4-FFF2-40B4-BE49-F238E27FC236}">
                <a16:creationId xmlns:a16="http://schemas.microsoft.com/office/drawing/2014/main" id="{C7984BBC-9A6A-B108-F3CA-FB7817E961B6}"/>
              </a:ext>
            </a:extLst>
          </p:cNvPr>
          <p:cNvCxnSpPr/>
          <p:nvPr/>
        </p:nvCxnSpPr>
        <p:spPr>
          <a:xfrm>
            <a:off x="7822353" y="2604826"/>
            <a:ext cx="474761" cy="8116"/>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직선 화살표 연결선 125">
            <a:extLst>
              <a:ext uri="{FF2B5EF4-FFF2-40B4-BE49-F238E27FC236}">
                <a16:creationId xmlns:a16="http://schemas.microsoft.com/office/drawing/2014/main" id="{E0D3FABB-5BB2-E958-E8E6-496F62EA6ADE}"/>
              </a:ext>
            </a:extLst>
          </p:cNvPr>
          <p:cNvCxnSpPr/>
          <p:nvPr/>
        </p:nvCxnSpPr>
        <p:spPr>
          <a:xfrm flipV="1">
            <a:off x="6392713" y="2740641"/>
            <a:ext cx="1118954" cy="919930"/>
          </a:xfrm>
          <a:prstGeom prst="straightConnector1">
            <a:avLst/>
          </a:prstGeom>
          <a:ln w="381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타원 126">
            <a:extLst>
              <a:ext uri="{FF2B5EF4-FFF2-40B4-BE49-F238E27FC236}">
                <a16:creationId xmlns:a16="http://schemas.microsoft.com/office/drawing/2014/main" id="{E48D3CF8-57FE-8DB9-4A1C-87D14B1F648E}"/>
              </a:ext>
            </a:extLst>
          </p:cNvPr>
          <p:cNvSpPr/>
          <p:nvPr/>
        </p:nvSpPr>
        <p:spPr>
          <a:xfrm>
            <a:off x="7125368" y="3419775"/>
            <a:ext cx="865459" cy="773505"/>
          </a:xfrm>
          <a:prstGeom prst="ellipse">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TextBox 33">
            <a:extLst>
              <a:ext uri="{FF2B5EF4-FFF2-40B4-BE49-F238E27FC236}">
                <a16:creationId xmlns:a16="http://schemas.microsoft.com/office/drawing/2014/main" id="{1ED25772-DC24-E35A-1E19-311D9B8E034B}"/>
              </a:ext>
            </a:extLst>
          </p:cNvPr>
          <p:cNvSpPr txBox="1"/>
          <p:nvPr/>
        </p:nvSpPr>
        <p:spPr>
          <a:xfrm>
            <a:off x="2294092" y="1909628"/>
            <a:ext cx="1811040" cy="247959"/>
          </a:xfrm>
          <a:prstGeom prst="rect">
            <a:avLst/>
          </a:prstGeom>
          <a:noFill/>
        </p:spPr>
        <p:txBody>
          <a:bodyPr wrap="none" lIns="0" tIns="0" rIns="0" bIns="0" rtlCol="0">
            <a:spAutoFit/>
          </a:bodyPr>
          <a:lstStyle/>
          <a:p>
            <a:pPr fontAlgn="base">
              <a:spcBef>
                <a:spcPct val="0"/>
              </a:spcBef>
              <a:spcAft>
                <a:spcPct val="0"/>
              </a:spcAft>
            </a:pPr>
            <a:r>
              <a:rPr kumimoji="1" lang="en-US" altLang="ko-KR" sz="1050" u="sng" dirty="0">
                <a:solidFill>
                  <a:prstClr val="black"/>
                </a:solidFill>
                <a:latin typeface="Arial Narrow" panose="020B0606020202030204" pitchFamily="34" charset="0"/>
                <a:ea typeface="LG스마트체 Regular" panose="020B0600000101010101" pitchFamily="50" charset="-127"/>
              </a:rPr>
              <a:t>Heat Exchange mode</a:t>
            </a:r>
          </a:p>
        </p:txBody>
      </p:sp>
      <p:sp>
        <p:nvSpPr>
          <p:cNvPr id="35" name="TextBox 34">
            <a:extLst>
              <a:ext uri="{FF2B5EF4-FFF2-40B4-BE49-F238E27FC236}">
                <a16:creationId xmlns:a16="http://schemas.microsoft.com/office/drawing/2014/main" id="{80AC156D-B681-F7BE-3C30-8EDCB330A516}"/>
              </a:ext>
            </a:extLst>
          </p:cNvPr>
          <p:cNvSpPr txBox="1"/>
          <p:nvPr/>
        </p:nvSpPr>
        <p:spPr>
          <a:xfrm>
            <a:off x="6227177" y="1909628"/>
            <a:ext cx="1139468" cy="247959"/>
          </a:xfrm>
          <a:prstGeom prst="rect">
            <a:avLst/>
          </a:prstGeom>
          <a:noFill/>
        </p:spPr>
        <p:txBody>
          <a:bodyPr wrap="none" lIns="0" tIns="0" rIns="0" bIns="0" rtlCol="0">
            <a:spAutoFit/>
          </a:bodyPr>
          <a:lstStyle/>
          <a:p>
            <a:pPr fontAlgn="base">
              <a:spcBef>
                <a:spcPct val="0"/>
              </a:spcBef>
              <a:spcAft>
                <a:spcPct val="0"/>
              </a:spcAft>
            </a:pPr>
            <a:r>
              <a:rPr kumimoji="1" lang="en-US" altLang="ko-KR" sz="1050" u="sng" dirty="0">
                <a:solidFill>
                  <a:prstClr val="black"/>
                </a:solidFill>
                <a:latin typeface="Arial Narrow" panose="020B0606020202030204" pitchFamily="34" charset="0"/>
                <a:ea typeface="LG스마트체 Regular" panose="020B0600000101010101" pitchFamily="50" charset="-127"/>
              </a:rPr>
              <a:t>Bypass mode</a:t>
            </a:r>
          </a:p>
        </p:txBody>
      </p:sp>
      <p:sp>
        <p:nvSpPr>
          <p:cNvPr id="37" name="텍스트 개체 틀 1">
            <a:extLst>
              <a:ext uri="{FF2B5EF4-FFF2-40B4-BE49-F238E27FC236}">
                <a16:creationId xmlns:a16="http://schemas.microsoft.com/office/drawing/2014/main" id="{0BBE5BBC-2156-635A-FB22-FCB6270BFEE0}"/>
              </a:ext>
            </a:extLst>
          </p:cNvPr>
          <p:cNvSpPr>
            <a:spLocks noGrp="1"/>
          </p:cNvSpPr>
          <p:nvPr>
            <p:ph type="body" sz="quarter" idx="19"/>
          </p:nvPr>
        </p:nvSpPr>
        <p:spPr>
          <a:xfrm>
            <a:off x="276225" y="163513"/>
            <a:ext cx="7793038" cy="369887"/>
          </a:xfrm>
        </p:spPr>
        <p:txBody>
          <a:bodyPr/>
          <a:lstStyle/>
          <a:p>
            <a:r>
              <a:rPr lang="en-US" altLang="ko-KR" dirty="0"/>
              <a:t>Heat Exchange/Bypass Modes</a:t>
            </a:r>
          </a:p>
        </p:txBody>
      </p:sp>
    </p:spTree>
    <p:extLst>
      <p:ext uri="{BB962C8B-B14F-4D97-AF65-F5344CB8AC3E}">
        <p14:creationId xmlns:p14="http://schemas.microsoft.com/office/powerpoint/2010/main" val="3813791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ltLang="ko-KR" dirty="0"/>
              <a:t>Comfort</a:t>
            </a:r>
          </a:p>
        </p:txBody>
      </p:sp>
      <p:sp>
        <p:nvSpPr>
          <p:cNvPr id="3" name="Text Placeholder 2"/>
          <p:cNvSpPr>
            <a:spLocks noGrp="1"/>
          </p:cNvSpPr>
          <p:nvPr>
            <p:ph type="body" sz="quarter" idx="13"/>
          </p:nvPr>
        </p:nvSpPr>
        <p:spPr>
          <a:xfrm>
            <a:off x="4883150" y="4234766"/>
            <a:ext cx="4464050" cy="682238"/>
          </a:xfrm>
        </p:spPr>
        <p:txBody>
          <a:bodyPr/>
          <a:lstStyle/>
          <a:p>
            <a:r>
              <a:rPr lang="en-US" altLang="ko-KR" dirty="0"/>
              <a:t>Comfortable Ventilation</a:t>
            </a:r>
          </a:p>
          <a:p>
            <a:r>
              <a:rPr lang="en-US" altLang="ko-KR" dirty="0"/>
              <a:t>Low Noise</a:t>
            </a:r>
          </a:p>
        </p:txBody>
      </p:sp>
    </p:spTree>
    <p:extLst>
      <p:ext uri="{BB962C8B-B14F-4D97-AF65-F5344CB8AC3E}">
        <p14:creationId xmlns:p14="http://schemas.microsoft.com/office/powerpoint/2010/main" val="986131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겨울배경">
            <a:extLst>
              <a:ext uri="{FF2B5EF4-FFF2-40B4-BE49-F238E27FC236}">
                <a16:creationId xmlns:a16="http://schemas.microsoft.com/office/drawing/2014/main" id="{C5D7A213-5F5B-4801-BFFC-4EBC004F4D7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9906000" cy="6858000"/>
          </a:xfrm>
          <a:prstGeom prst="rect">
            <a:avLst/>
          </a:prstGeom>
        </p:spPr>
      </p:pic>
      <p:pic>
        <p:nvPicPr>
          <p:cNvPr id="58" name="집">
            <a:extLst>
              <a:ext uri="{FF2B5EF4-FFF2-40B4-BE49-F238E27FC236}">
                <a16:creationId xmlns:a16="http://schemas.microsoft.com/office/drawing/2014/main" id="{8573A720-646F-4632-8CC6-2B11DD5CC6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 name="텍스트 개체 틀 1"/>
          <p:cNvSpPr>
            <a:spLocks noGrp="1"/>
          </p:cNvSpPr>
          <p:nvPr>
            <p:ph type="body" sz="quarter" idx="19"/>
          </p:nvPr>
        </p:nvSpPr>
        <p:spPr/>
        <p:txBody>
          <a:bodyPr/>
          <a:lstStyle/>
          <a:p>
            <a:r>
              <a:rPr lang="en-US" altLang="ko-KR" dirty="0"/>
              <a:t>Comfortable Ventilation</a:t>
            </a:r>
          </a:p>
        </p:txBody>
      </p:sp>
      <p:sp>
        <p:nvSpPr>
          <p:cNvPr id="6" name="텍스트 개체 틀 5"/>
          <p:cNvSpPr>
            <a:spLocks noGrp="1"/>
          </p:cNvSpPr>
          <p:nvPr>
            <p:ph type="body" sz="quarter" idx="20"/>
          </p:nvPr>
        </p:nvSpPr>
        <p:spPr/>
        <p:txBody>
          <a:bodyPr/>
          <a:lstStyle/>
          <a:p>
            <a:r>
              <a:rPr lang="en-US" altLang="ko-KR" dirty="0"/>
              <a:t>Comfort</a:t>
            </a:r>
          </a:p>
        </p:txBody>
      </p:sp>
      <p:sp>
        <p:nvSpPr>
          <p:cNvPr id="7" name="텍스트 개체 틀 6"/>
          <p:cNvSpPr>
            <a:spLocks noGrp="1"/>
          </p:cNvSpPr>
          <p:nvPr>
            <p:ph type="body" sz="quarter" idx="21"/>
          </p:nvPr>
        </p:nvSpPr>
        <p:spPr>
          <a:xfrm>
            <a:off x="278422" y="748127"/>
            <a:ext cx="9342438" cy="984885"/>
          </a:xfrm>
        </p:spPr>
        <p:txBody>
          <a:bodyPr/>
          <a:lstStyle/>
          <a:p>
            <a:r>
              <a:rPr lang="en-US" altLang="ko-KR" dirty="0"/>
              <a:t>In winter, the highly efficient total heat exchanger* heats the cold air from outdoor to the same temperature as the room through heat exchange with the exhausted indoor air. And in the summer, it cools the warm air from outdoor and supplies it to the room. So you can </a:t>
            </a:r>
            <a:r>
              <a:rPr lang="en-US" altLang="ko-KR" b="1" dirty="0">
                <a:solidFill>
                  <a:srgbClr val="C00000"/>
                </a:solidFill>
              </a:rPr>
              <a:t>ventilate comfortably all year round.</a:t>
            </a:r>
          </a:p>
        </p:txBody>
      </p:sp>
      <p:sp>
        <p:nvSpPr>
          <p:cNvPr id="59" name="직사각형 10">
            <a:extLst>
              <a:ext uri="{FF2B5EF4-FFF2-40B4-BE49-F238E27FC236}">
                <a16:creationId xmlns:a16="http://schemas.microsoft.com/office/drawing/2014/main" id="{FCBDB4C9-661D-4F66-B4DD-05DDC389A0A7}"/>
              </a:ext>
            </a:extLst>
          </p:cNvPr>
          <p:cNvSpPr/>
          <p:nvPr/>
        </p:nvSpPr>
        <p:spPr>
          <a:xfrm rot="16200000">
            <a:off x="1638366" y="3836915"/>
            <a:ext cx="446669" cy="686675"/>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grpSp>
        <p:nvGrpSpPr>
          <p:cNvPr id="60" name="그룹 59">
            <a:extLst>
              <a:ext uri="{FF2B5EF4-FFF2-40B4-BE49-F238E27FC236}">
                <a16:creationId xmlns:a16="http://schemas.microsoft.com/office/drawing/2014/main" id="{724D5F1D-7A1F-4272-839D-426E630806A9}"/>
              </a:ext>
            </a:extLst>
          </p:cNvPr>
          <p:cNvGrpSpPr/>
          <p:nvPr/>
        </p:nvGrpSpPr>
        <p:grpSpPr>
          <a:xfrm>
            <a:off x="2260694" y="4294304"/>
            <a:ext cx="282174" cy="290451"/>
            <a:chOff x="-500505" y="4304409"/>
            <a:chExt cx="461513" cy="475050"/>
          </a:xfrm>
        </p:grpSpPr>
        <p:sp>
          <p:nvSpPr>
            <p:cNvPr id="61" name="화살표: 아래쪽 53">
              <a:extLst>
                <a:ext uri="{FF2B5EF4-FFF2-40B4-BE49-F238E27FC236}">
                  <a16:creationId xmlns:a16="http://schemas.microsoft.com/office/drawing/2014/main" id="{76AEEA3F-1CAA-4E1B-BF93-69C1EC71F897}"/>
                </a:ext>
              </a:extLst>
            </p:cNvPr>
            <p:cNvSpPr/>
            <p:nvPr/>
          </p:nvSpPr>
          <p:spPr>
            <a:xfrm rot="5400000">
              <a:off x="-384048" y="4187952"/>
              <a:ext cx="228600" cy="461513"/>
            </a:xfrm>
            <a:prstGeom prst="downArrow">
              <a:avLst/>
            </a:prstGeom>
            <a:gradFill flip="none" rotWithShape="1">
              <a:gsLst>
                <a:gs pos="0">
                  <a:srgbClr val="F92763"/>
                </a:gs>
                <a:gs pos="100000">
                  <a:srgbClr val="F92763">
                    <a:alpha val="0"/>
                  </a:srgbClr>
                </a:gs>
              </a:gsLst>
              <a:lin ang="162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62" name="화살표: 아래쪽 54">
              <a:extLst>
                <a:ext uri="{FF2B5EF4-FFF2-40B4-BE49-F238E27FC236}">
                  <a16:creationId xmlns:a16="http://schemas.microsoft.com/office/drawing/2014/main" id="{FECF73C7-6AC2-4725-9379-8E089EB08244}"/>
                </a:ext>
              </a:extLst>
            </p:cNvPr>
            <p:cNvSpPr/>
            <p:nvPr/>
          </p:nvSpPr>
          <p:spPr>
            <a:xfrm rot="16200000">
              <a:off x="-384049" y="4434403"/>
              <a:ext cx="228600" cy="461512"/>
            </a:xfrm>
            <a:prstGeom prst="downArrow">
              <a:avLst/>
            </a:prstGeom>
            <a:gradFill flip="none" rotWithShape="1">
              <a:gsLst>
                <a:gs pos="0">
                  <a:srgbClr val="0586EB"/>
                </a:gs>
                <a:gs pos="100000">
                  <a:srgbClr val="0586EB">
                    <a:alpha val="0"/>
                  </a:srgbClr>
                </a:gs>
              </a:gsLst>
              <a:lin ang="162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grpSp>
      <p:grpSp>
        <p:nvGrpSpPr>
          <p:cNvPr id="63" name="그룹 62">
            <a:extLst>
              <a:ext uri="{FF2B5EF4-FFF2-40B4-BE49-F238E27FC236}">
                <a16:creationId xmlns:a16="http://schemas.microsoft.com/office/drawing/2014/main" id="{62687C7D-2EFD-4985-9E2C-5E43E3CBE081}"/>
              </a:ext>
            </a:extLst>
          </p:cNvPr>
          <p:cNvGrpSpPr/>
          <p:nvPr/>
        </p:nvGrpSpPr>
        <p:grpSpPr>
          <a:xfrm flipH="1">
            <a:off x="7652668" y="4254681"/>
            <a:ext cx="282174" cy="290451"/>
            <a:chOff x="-500505" y="4304409"/>
            <a:chExt cx="461513" cy="475050"/>
          </a:xfrm>
        </p:grpSpPr>
        <p:sp>
          <p:nvSpPr>
            <p:cNvPr id="64" name="화살표: 아래쪽 57">
              <a:extLst>
                <a:ext uri="{FF2B5EF4-FFF2-40B4-BE49-F238E27FC236}">
                  <a16:creationId xmlns:a16="http://schemas.microsoft.com/office/drawing/2014/main" id="{F7BCBF34-A27B-45D3-A730-44251F984253}"/>
                </a:ext>
              </a:extLst>
            </p:cNvPr>
            <p:cNvSpPr/>
            <p:nvPr/>
          </p:nvSpPr>
          <p:spPr>
            <a:xfrm rot="5400000">
              <a:off x="-384048" y="4187952"/>
              <a:ext cx="228600" cy="461513"/>
            </a:xfrm>
            <a:prstGeom prst="downArrow">
              <a:avLst/>
            </a:prstGeom>
            <a:gradFill flip="none" rotWithShape="1">
              <a:gsLst>
                <a:gs pos="0">
                  <a:srgbClr val="F92763"/>
                </a:gs>
                <a:gs pos="100000">
                  <a:srgbClr val="F92763">
                    <a:alpha val="0"/>
                  </a:srgbClr>
                </a:gs>
              </a:gsLst>
              <a:lin ang="162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sp>
          <p:nvSpPr>
            <p:cNvPr id="65" name="화살표: 아래쪽 58">
              <a:extLst>
                <a:ext uri="{FF2B5EF4-FFF2-40B4-BE49-F238E27FC236}">
                  <a16:creationId xmlns:a16="http://schemas.microsoft.com/office/drawing/2014/main" id="{5C9FC7EA-19D9-430B-A0C3-4A910250F277}"/>
                </a:ext>
              </a:extLst>
            </p:cNvPr>
            <p:cNvSpPr/>
            <p:nvPr/>
          </p:nvSpPr>
          <p:spPr>
            <a:xfrm rot="16200000">
              <a:off x="-384049" y="4434403"/>
              <a:ext cx="228600" cy="461512"/>
            </a:xfrm>
            <a:prstGeom prst="downArrow">
              <a:avLst/>
            </a:prstGeom>
            <a:gradFill flip="none" rotWithShape="1">
              <a:gsLst>
                <a:gs pos="0">
                  <a:srgbClr val="0586EB"/>
                </a:gs>
                <a:gs pos="100000">
                  <a:srgbClr val="0586EB">
                    <a:alpha val="0"/>
                  </a:srgbClr>
                </a:gs>
              </a:gsLst>
              <a:lin ang="162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2.0 Light"/>
                <a:cs typeface="Arial" panose="020B0604020202020204" pitchFamily="34" charset="0"/>
              </a:endParaRPr>
            </a:p>
          </p:txBody>
        </p:sp>
      </p:grpSp>
      <p:sp>
        <p:nvSpPr>
          <p:cNvPr id="66" name="직사각형 10">
            <a:extLst>
              <a:ext uri="{FF2B5EF4-FFF2-40B4-BE49-F238E27FC236}">
                <a16:creationId xmlns:a16="http://schemas.microsoft.com/office/drawing/2014/main" id="{FCBDB4C9-661D-4F66-B4DD-05DDC389A0A7}"/>
              </a:ext>
            </a:extLst>
          </p:cNvPr>
          <p:cNvSpPr/>
          <p:nvPr/>
        </p:nvSpPr>
        <p:spPr>
          <a:xfrm rot="16200000" flipV="1">
            <a:off x="7943280" y="4023033"/>
            <a:ext cx="446669" cy="286780"/>
          </a:xfrm>
          <a:custGeom>
            <a:avLst/>
            <a:gdLst>
              <a:gd name="connsiteX0" fmla="*/ 0 w 2293648"/>
              <a:gd name="connsiteY0" fmla="*/ 0 h 2293648"/>
              <a:gd name="connsiteX1" fmla="*/ 2293648 w 2293648"/>
              <a:gd name="connsiteY1" fmla="*/ 0 h 2293648"/>
              <a:gd name="connsiteX2" fmla="*/ 2293648 w 2293648"/>
              <a:gd name="connsiteY2" fmla="*/ 2293648 h 2293648"/>
              <a:gd name="connsiteX3" fmla="*/ 0 w 2293648"/>
              <a:gd name="connsiteY3" fmla="*/ 2293648 h 2293648"/>
              <a:gd name="connsiteX4" fmla="*/ 0 w 2293648"/>
              <a:gd name="connsiteY4" fmla="*/ 0 h 2293648"/>
              <a:gd name="connsiteX0" fmla="*/ 2293648 w 2385088"/>
              <a:gd name="connsiteY0" fmla="*/ 2293648 h 2385088"/>
              <a:gd name="connsiteX1" fmla="*/ 0 w 2385088"/>
              <a:gd name="connsiteY1" fmla="*/ 2293648 h 2385088"/>
              <a:gd name="connsiteX2" fmla="*/ 0 w 2385088"/>
              <a:gd name="connsiteY2" fmla="*/ 0 h 2385088"/>
              <a:gd name="connsiteX3" fmla="*/ 2293648 w 2385088"/>
              <a:gd name="connsiteY3" fmla="*/ 0 h 2385088"/>
              <a:gd name="connsiteX4" fmla="*/ 2385088 w 2385088"/>
              <a:gd name="connsiteY4" fmla="*/ 2385088 h 2385088"/>
              <a:gd name="connsiteX0" fmla="*/ 0 w 2385088"/>
              <a:gd name="connsiteY0" fmla="*/ 2293648 h 2385088"/>
              <a:gd name="connsiteX1" fmla="*/ 0 w 2385088"/>
              <a:gd name="connsiteY1" fmla="*/ 0 h 2385088"/>
              <a:gd name="connsiteX2" fmla="*/ 2293648 w 2385088"/>
              <a:gd name="connsiteY2" fmla="*/ 0 h 2385088"/>
              <a:gd name="connsiteX3" fmla="*/ 2385088 w 2385088"/>
              <a:gd name="connsiteY3" fmla="*/ 2385088 h 2385088"/>
              <a:gd name="connsiteX0" fmla="*/ 0 w 2293648"/>
              <a:gd name="connsiteY0" fmla="*/ 2293648 h 2293648"/>
              <a:gd name="connsiteX1" fmla="*/ 0 w 2293648"/>
              <a:gd name="connsiteY1" fmla="*/ 0 h 2293648"/>
              <a:gd name="connsiteX2" fmla="*/ 2293648 w 2293648"/>
              <a:gd name="connsiteY2" fmla="*/ 0 h 2293648"/>
            </a:gdLst>
            <a:ahLst/>
            <a:cxnLst>
              <a:cxn ang="0">
                <a:pos x="connsiteX0" y="connsiteY0"/>
              </a:cxn>
              <a:cxn ang="0">
                <a:pos x="connsiteX1" y="connsiteY1"/>
              </a:cxn>
              <a:cxn ang="0">
                <a:pos x="connsiteX2" y="connsiteY2"/>
              </a:cxn>
            </a:cxnLst>
            <a:rect l="l" t="t" r="r" b="b"/>
            <a:pathLst>
              <a:path w="2293648" h="2293648">
                <a:moveTo>
                  <a:pt x="0" y="2293648"/>
                </a:moveTo>
                <a:lnTo>
                  <a:pt x="0" y="0"/>
                </a:lnTo>
                <a:lnTo>
                  <a:pt x="2293648" y="0"/>
                </a:lnTo>
              </a:path>
            </a:pathLst>
          </a:custGeom>
          <a:no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pic>
        <p:nvPicPr>
          <p:cNvPr id="67" name="쾌적사람">
            <a:extLst>
              <a:ext uri="{FF2B5EF4-FFF2-40B4-BE49-F238E27FC236}">
                <a16:creationId xmlns:a16="http://schemas.microsoft.com/office/drawing/2014/main" id="{0C5F9580-4303-4AFC-AB2B-E191F64DF38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49900" y="3670083"/>
            <a:ext cx="1917700" cy="2032434"/>
          </a:xfrm>
          <a:prstGeom prst="rect">
            <a:avLst/>
          </a:prstGeom>
        </p:spPr>
      </p:pic>
      <p:pic>
        <p:nvPicPr>
          <p:cNvPr id="68" name="추운사람">
            <a:extLst>
              <a:ext uri="{FF2B5EF4-FFF2-40B4-BE49-F238E27FC236}">
                <a16:creationId xmlns:a16="http://schemas.microsoft.com/office/drawing/2014/main" id="{56FCD224-DE99-4010-890D-3B42D4C477A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371841" y="3602081"/>
            <a:ext cx="2081606" cy="2081606"/>
          </a:xfrm>
          <a:prstGeom prst="rect">
            <a:avLst/>
          </a:prstGeom>
        </p:spPr>
      </p:pic>
      <p:pic>
        <p:nvPicPr>
          <p:cNvPr id="69" name="우측동그라미">
            <a:extLst>
              <a:ext uri="{FF2B5EF4-FFF2-40B4-BE49-F238E27FC236}">
                <a16:creationId xmlns:a16="http://schemas.microsoft.com/office/drawing/2014/main" id="{7286A4EA-D665-46FF-A92E-CCCAB69E180C}"/>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326312" y="1990144"/>
            <a:ext cx="1905000" cy="1905002"/>
          </a:xfrm>
          <a:prstGeom prst="ellipse">
            <a:avLst/>
          </a:prstGeom>
          <a:ln w="63500">
            <a:solidFill>
              <a:sysClr val="window" lastClr="FFFFFF"/>
            </a:solidFill>
          </a:ln>
        </p:spPr>
      </p:pic>
      <p:pic>
        <p:nvPicPr>
          <p:cNvPr id="70" name="좌측동그라미">
            <a:extLst>
              <a:ext uri="{FF2B5EF4-FFF2-40B4-BE49-F238E27FC236}">
                <a16:creationId xmlns:a16="http://schemas.microsoft.com/office/drawing/2014/main" id="{8692E913-ADB8-463A-B6BB-269030FB932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0074" y="1987550"/>
            <a:ext cx="1893888" cy="1893888"/>
          </a:xfrm>
          <a:prstGeom prst="ellipse">
            <a:avLst/>
          </a:prstGeom>
          <a:gradFill flip="none" rotWithShape="1">
            <a:gsLst>
              <a:gs pos="0">
                <a:srgbClr val="F92763"/>
              </a:gs>
              <a:gs pos="100000">
                <a:srgbClr val="C30037"/>
              </a:gs>
            </a:gsLst>
            <a:lin ang="5400000" scaled="0"/>
            <a:tileRect/>
          </a:gradFill>
          <a:ln w="63500" cap="flat" cmpd="sng" algn="ctr">
            <a:solidFill>
              <a:sysClr val="window" lastClr="FFFFFF"/>
            </a:solidFill>
            <a:prstDash val="solid"/>
            <a:miter lim="800000"/>
          </a:ln>
          <a:effectLst/>
        </p:spPr>
      </p:pic>
      <p:sp>
        <p:nvSpPr>
          <p:cNvPr id="71" name="TextBox 2">
            <a:extLst>
              <a:ext uri="{FF2B5EF4-FFF2-40B4-BE49-F238E27FC236}">
                <a16:creationId xmlns:a16="http://schemas.microsoft.com/office/drawing/2014/main" id="{4E242081-4891-4E74-8ECC-CED3DBE0AF27}"/>
              </a:ext>
            </a:extLst>
          </p:cNvPr>
          <p:cNvSpPr txBox="1"/>
          <p:nvPr/>
        </p:nvSpPr>
        <p:spPr>
          <a:xfrm>
            <a:off x="857719" y="2226459"/>
            <a:ext cx="599844" cy="246221"/>
          </a:xfrm>
          <a:prstGeom prst="rect">
            <a:avLst/>
          </a:prstGeom>
          <a:noFill/>
        </p:spPr>
        <p:txBody>
          <a:bodyPr wrap="none" rtlCol="0" anchor="ctr">
            <a:spAutoFit/>
          </a:bodyPr>
          <a:lstStyle/>
          <a:p>
            <a:pPr algn="ctr">
              <a:defRPr/>
            </a:pPr>
            <a:r>
              <a:rPr lang="en-US" altLang="ko-KR"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rPr>
              <a:t>Outdoor</a:t>
            </a:r>
            <a:endParaRPr lang="ko-KR" altLang="en-US"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endParaRPr>
          </a:p>
        </p:txBody>
      </p:sp>
      <p:sp>
        <p:nvSpPr>
          <p:cNvPr id="72" name="TextBox 2">
            <a:extLst>
              <a:ext uri="{FF2B5EF4-FFF2-40B4-BE49-F238E27FC236}">
                <a16:creationId xmlns:a16="http://schemas.microsoft.com/office/drawing/2014/main" id="{9D1E48F6-C29D-4202-B5B6-C09EB83B62A3}"/>
              </a:ext>
            </a:extLst>
          </p:cNvPr>
          <p:cNvSpPr txBox="1"/>
          <p:nvPr/>
        </p:nvSpPr>
        <p:spPr>
          <a:xfrm>
            <a:off x="1650828" y="2226459"/>
            <a:ext cx="506870" cy="246221"/>
          </a:xfrm>
          <a:prstGeom prst="rect">
            <a:avLst/>
          </a:prstGeom>
          <a:noFill/>
        </p:spPr>
        <p:txBody>
          <a:bodyPr wrap="none" rtlCol="0" anchor="ctr">
            <a:spAutoFit/>
          </a:bodyPr>
          <a:lstStyle/>
          <a:p>
            <a:pPr algn="ctr">
              <a:defRPr/>
            </a:pPr>
            <a:r>
              <a:rPr lang="en-US" altLang="ko-KR"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rPr>
              <a:t>Indoor</a:t>
            </a:r>
            <a:endParaRPr lang="ko-KR" altLang="en-US"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endParaRPr>
          </a:p>
        </p:txBody>
      </p:sp>
      <p:sp>
        <p:nvSpPr>
          <p:cNvPr id="73" name="TextBox 2">
            <a:extLst>
              <a:ext uri="{FF2B5EF4-FFF2-40B4-BE49-F238E27FC236}">
                <a16:creationId xmlns:a16="http://schemas.microsoft.com/office/drawing/2014/main" id="{1A2FB106-5827-4584-96EF-79F1E57AC66E}"/>
              </a:ext>
            </a:extLst>
          </p:cNvPr>
          <p:cNvSpPr txBox="1"/>
          <p:nvPr/>
        </p:nvSpPr>
        <p:spPr>
          <a:xfrm>
            <a:off x="8408326" y="2226459"/>
            <a:ext cx="570989" cy="246221"/>
          </a:xfrm>
          <a:prstGeom prst="rect">
            <a:avLst/>
          </a:prstGeom>
          <a:noFill/>
        </p:spPr>
        <p:txBody>
          <a:bodyPr wrap="none" rtlCol="0" anchor="ctr">
            <a:spAutoFit/>
          </a:bodyPr>
          <a:lstStyle/>
          <a:p>
            <a:pPr algn="ctr">
              <a:defRPr/>
            </a:pPr>
            <a:r>
              <a:rPr lang="en-US" altLang="ko-KR" sz="1000" spc="-5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rPr>
              <a:t>outdoor</a:t>
            </a:r>
            <a:endParaRPr lang="ko-KR" altLang="en-US"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endParaRPr>
          </a:p>
        </p:txBody>
      </p:sp>
      <p:sp>
        <p:nvSpPr>
          <p:cNvPr id="74" name="TextBox 2">
            <a:extLst>
              <a:ext uri="{FF2B5EF4-FFF2-40B4-BE49-F238E27FC236}">
                <a16:creationId xmlns:a16="http://schemas.microsoft.com/office/drawing/2014/main" id="{0F7F83F7-F278-4E8C-A121-89FB48591808}"/>
              </a:ext>
            </a:extLst>
          </p:cNvPr>
          <p:cNvSpPr txBox="1"/>
          <p:nvPr/>
        </p:nvSpPr>
        <p:spPr>
          <a:xfrm>
            <a:off x="7663007" y="2226459"/>
            <a:ext cx="506870" cy="246221"/>
          </a:xfrm>
          <a:prstGeom prst="rect">
            <a:avLst/>
          </a:prstGeom>
          <a:noFill/>
        </p:spPr>
        <p:txBody>
          <a:bodyPr wrap="none" rtlCol="0" anchor="ctr">
            <a:spAutoFit/>
          </a:bodyPr>
          <a:lstStyle/>
          <a:p>
            <a:pPr algn="ctr">
              <a:defRPr/>
            </a:pPr>
            <a:r>
              <a:rPr lang="en-US" altLang="ko-KR"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rPr>
              <a:t>Indoor</a:t>
            </a:r>
            <a:endParaRPr lang="ko-KR" altLang="en-US" sz="1000" spc="-50" dirty="0">
              <a:ln>
                <a:solidFill>
                  <a:srgbClr val="4472C4">
                    <a:alpha val="0"/>
                  </a:srgbClr>
                </a:solidFill>
              </a:ln>
              <a:solidFill>
                <a:prstClr val="black"/>
              </a:solidFill>
              <a:latin typeface="Arial" panose="020B0604020202020204" pitchFamily="34" charset="0"/>
              <a:ea typeface="LG스마트체 SemiBold" panose="020B0600000101010101" pitchFamily="50" charset="-127"/>
              <a:cs typeface="Arial" panose="020B0604020202020204" pitchFamily="34" charset="0"/>
            </a:endParaRPr>
          </a:p>
        </p:txBody>
      </p:sp>
      <p:sp>
        <p:nvSpPr>
          <p:cNvPr id="75" name="사각형: 둥근 모서리 88">
            <a:extLst>
              <a:ext uri="{FF2B5EF4-FFF2-40B4-BE49-F238E27FC236}">
                <a16:creationId xmlns:a16="http://schemas.microsoft.com/office/drawing/2014/main" id="{F10E3359-4FD4-4324-A0A0-B948F5ECE53C}"/>
              </a:ext>
            </a:extLst>
          </p:cNvPr>
          <p:cNvSpPr/>
          <p:nvPr/>
        </p:nvSpPr>
        <p:spPr>
          <a:xfrm>
            <a:off x="2728683" y="2695857"/>
            <a:ext cx="1418776" cy="247540"/>
          </a:xfrm>
          <a:prstGeom prst="roundRect">
            <a:avLst>
              <a:gd name="adj" fmla="val 50000"/>
            </a:avLst>
          </a:prstGeom>
          <a:solidFill>
            <a:sysClr val="windowText" lastClr="000000">
              <a:lumMod val="65000"/>
              <a:lumOff val="35000"/>
            </a:sys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sp>
        <p:nvSpPr>
          <p:cNvPr id="76" name="Rectangle 54">
            <a:extLst>
              <a:ext uri="{FF2B5EF4-FFF2-40B4-BE49-F238E27FC236}">
                <a16:creationId xmlns:a16="http://schemas.microsoft.com/office/drawing/2014/main" id="{54A80C71-6E7E-4897-B898-A71478CCF0CC}"/>
              </a:ext>
            </a:extLst>
          </p:cNvPr>
          <p:cNvSpPr>
            <a:spLocks noChangeArrowheads="1"/>
          </p:cNvSpPr>
          <p:nvPr/>
        </p:nvSpPr>
        <p:spPr bwMode="auto">
          <a:xfrm>
            <a:off x="2938161" y="2726845"/>
            <a:ext cx="9998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굴림" panose="020B0600000101010101" pitchFamily="50" charset="-127"/>
              </a:defRPr>
            </a:lvl1pPr>
            <a:lvl2pPr marL="742950" indent="-285750">
              <a:defRPr kumimoji="1">
                <a:solidFill>
                  <a:schemeClr val="tx1"/>
                </a:solidFill>
                <a:latin typeface="Arial" panose="020B0604020202020204" pitchFamily="34" charset="0"/>
                <a:ea typeface="굴림" panose="020B0600000101010101" pitchFamily="50" charset="-127"/>
              </a:defRPr>
            </a:lvl2pPr>
            <a:lvl3pPr marL="1143000" indent="-228600">
              <a:defRPr kumimoji="1">
                <a:solidFill>
                  <a:schemeClr val="tx1"/>
                </a:solidFill>
                <a:latin typeface="Arial" panose="020B0604020202020204" pitchFamily="34" charset="0"/>
                <a:ea typeface="굴림" panose="020B0600000101010101" pitchFamily="50" charset="-127"/>
              </a:defRPr>
            </a:lvl3pPr>
            <a:lvl4pPr marL="1600200" indent="-228600">
              <a:defRPr kumimoji="1">
                <a:solidFill>
                  <a:schemeClr val="tx1"/>
                </a:solidFill>
                <a:latin typeface="Arial" panose="020B0604020202020204" pitchFamily="34" charset="0"/>
                <a:ea typeface="굴림" panose="020B0600000101010101" pitchFamily="50" charset="-127"/>
              </a:defRPr>
            </a:lvl4pPr>
            <a:lvl5pPr marL="2057400" indent="-228600">
              <a:defRPr kumimoji="1">
                <a:solidFill>
                  <a:schemeClr val="tx1"/>
                </a:solidFill>
                <a:latin typeface="Arial" panose="020B0604020202020204" pitchFamily="34" charset="0"/>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9pPr>
          </a:lstStyle>
          <a:p>
            <a:pPr algn="ctr" defTabSz="914400" latinLnBrk="1"/>
            <a:r>
              <a:rPr lang="en-US" altLang="ko-KR" sz="1200" spc="-100" dirty="0">
                <a:ln>
                  <a:solidFill>
                    <a:srgbClr val="A5A5A5">
                      <a:alpha val="0"/>
                    </a:srgbClr>
                  </a:solidFill>
                </a:ln>
                <a:solidFill>
                  <a:prstClr val="white"/>
                </a:solidFill>
                <a:ea typeface="LG스마트체 SemiBold" panose="020B0600000101010101" pitchFamily="50" charset="-127"/>
                <a:cs typeface="Arial" panose="020B0604020202020204" pitchFamily="34" charset="0"/>
              </a:rPr>
              <a:t>Natural Ventilation</a:t>
            </a:r>
            <a:endParaRPr lang="ko-KR" altLang="en-US" sz="1200" spc="-100" dirty="0">
              <a:ln>
                <a:solidFill>
                  <a:srgbClr val="A5A5A5">
                    <a:alpha val="0"/>
                  </a:srgbClr>
                </a:solidFill>
              </a:ln>
              <a:solidFill>
                <a:prstClr val="white"/>
              </a:solidFill>
              <a:ea typeface="LG스마트체 SemiBold" panose="020B0600000101010101" pitchFamily="50" charset="-127"/>
              <a:cs typeface="Arial" panose="020B0604020202020204" pitchFamily="34" charset="0"/>
            </a:endParaRPr>
          </a:p>
        </p:txBody>
      </p:sp>
      <p:sp>
        <p:nvSpPr>
          <p:cNvPr id="77" name="사각형: 둥근 모서리 88">
            <a:extLst>
              <a:ext uri="{FF2B5EF4-FFF2-40B4-BE49-F238E27FC236}">
                <a16:creationId xmlns:a16="http://schemas.microsoft.com/office/drawing/2014/main" id="{156007E1-4FF0-4400-9A00-424C64D06A48}"/>
              </a:ext>
            </a:extLst>
          </p:cNvPr>
          <p:cNvSpPr/>
          <p:nvPr/>
        </p:nvSpPr>
        <p:spPr>
          <a:xfrm>
            <a:off x="5746203" y="2695857"/>
            <a:ext cx="1418776" cy="247540"/>
          </a:xfrm>
          <a:prstGeom prst="roundRect">
            <a:avLst>
              <a:gd name="adj" fmla="val 50000"/>
            </a:avLst>
          </a:prstGeom>
          <a:solidFill>
            <a:srgbClr val="C71555"/>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00" b="0" i="0" u="none" strike="noStrike" kern="0" cap="none" spc="-80" normalizeH="0" baseline="0" noProof="0" dirty="0">
              <a:ln>
                <a:no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endParaRPr>
          </a:p>
        </p:txBody>
      </p:sp>
      <p:sp>
        <p:nvSpPr>
          <p:cNvPr id="78" name="Rectangle 54">
            <a:extLst>
              <a:ext uri="{FF2B5EF4-FFF2-40B4-BE49-F238E27FC236}">
                <a16:creationId xmlns:a16="http://schemas.microsoft.com/office/drawing/2014/main" id="{AE32C426-A7D3-4151-809B-AA585BDB7B4D}"/>
              </a:ext>
            </a:extLst>
          </p:cNvPr>
          <p:cNvSpPr>
            <a:spLocks noChangeArrowheads="1"/>
          </p:cNvSpPr>
          <p:nvPr/>
        </p:nvSpPr>
        <p:spPr bwMode="auto">
          <a:xfrm>
            <a:off x="5890308" y="2726845"/>
            <a:ext cx="11305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굴림" panose="020B0600000101010101" pitchFamily="50" charset="-127"/>
              </a:defRPr>
            </a:lvl1pPr>
            <a:lvl2pPr marL="742950" indent="-285750">
              <a:defRPr kumimoji="1">
                <a:solidFill>
                  <a:schemeClr val="tx1"/>
                </a:solidFill>
                <a:latin typeface="Arial" panose="020B0604020202020204" pitchFamily="34" charset="0"/>
                <a:ea typeface="굴림" panose="020B0600000101010101" pitchFamily="50" charset="-127"/>
              </a:defRPr>
            </a:lvl2pPr>
            <a:lvl3pPr marL="1143000" indent="-228600">
              <a:defRPr kumimoji="1">
                <a:solidFill>
                  <a:schemeClr val="tx1"/>
                </a:solidFill>
                <a:latin typeface="Arial" panose="020B0604020202020204" pitchFamily="34" charset="0"/>
                <a:ea typeface="굴림" panose="020B0600000101010101" pitchFamily="50" charset="-127"/>
              </a:defRPr>
            </a:lvl3pPr>
            <a:lvl4pPr marL="1600200" indent="-228600">
              <a:defRPr kumimoji="1">
                <a:solidFill>
                  <a:schemeClr val="tx1"/>
                </a:solidFill>
                <a:latin typeface="Arial" panose="020B0604020202020204" pitchFamily="34" charset="0"/>
                <a:ea typeface="굴림" panose="020B0600000101010101" pitchFamily="50" charset="-127"/>
              </a:defRPr>
            </a:lvl4pPr>
            <a:lvl5pPr marL="2057400" indent="-228600">
              <a:defRPr kumimoji="1">
                <a:solidFill>
                  <a:schemeClr val="tx1"/>
                </a:solidFill>
                <a:latin typeface="Arial" panose="020B0604020202020204" pitchFamily="34" charset="0"/>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굴림" panose="020B0600000101010101" pitchFamily="50" charset="-127"/>
              </a:defRPr>
            </a:lvl9pPr>
          </a:lstStyle>
          <a:p>
            <a:pPr algn="ctr" defTabSz="914400" latinLnBrk="1"/>
            <a:r>
              <a:rPr lang="en-US" altLang="ko-KR" sz="1200" spc="-100" dirty="0">
                <a:ln>
                  <a:solidFill>
                    <a:srgbClr val="A5A5A5">
                      <a:alpha val="0"/>
                    </a:srgbClr>
                  </a:solidFill>
                </a:ln>
                <a:solidFill>
                  <a:prstClr val="white"/>
                </a:solidFill>
                <a:ea typeface="LG스마트체 SemiBold" panose="020B0600000101010101" pitchFamily="50" charset="-127"/>
                <a:cs typeface="Arial" panose="020B0604020202020204" pitchFamily="34" charset="0"/>
              </a:rPr>
              <a:t>LG Residential ERV</a:t>
            </a:r>
            <a:endParaRPr lang="ko-KR" altLang="en-US" sz="1200" spc="-100" dirty="0">
              <a:ln>
                <a:solidFill>
                  <a:srgbClr val="A5A5A5">
                    <a:alpha val="0"/>
                  </a:srgbClr>
                </a:solidFill>
              </a:ln>
              <a:solidFill>
                <a:prstClr val="white"/>
              </a:solidFill>
              <a:ea typeface="LG스마트체 SemiBold" panose="020B0600000101010101" pitchFamily="50" charset="-127"/>
              <a:cs typeface="Arial" panose="020B0604020202020204" pitchFamily="34" charset="0"/>
            </a:endParaRPr>
          </a:p>
        </p:txBody>
      </p:sp>
    </p:spTree>
    <p:extLst>
      <p:ext uri="{BB962C8B-B14F-4D97-AF65-F5344CB8AC3E}">
        <p14:creationId xmlns:p14="http://schemas.microsoft.com/office/powerpoint/2010/main" val="9325463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그림 28">
            <a:extLst>
              <a:ext uri="{FF2B5EF4-FFF2-40B4-BE49-F238E27FC236}">
                <a16:creationId xmlns:a16="http://schemas.microsoft.com/office/drawing/2014/main" id="{59ED76FD-FBEA-4FC9-B606-05507DBE246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9906000" cy="6858000"/>
          </a:xfrm>
          <a:prstGeom prst="rect">
            <a:avLst/>
          </a:prstGeom>
          <a:ln>
            <a:noFill/>
          </a:ln>
        </p:spPr>
      </p:pic>
      <p:sp>
        <p:nvSpPr>
          <p:cNvPr id="2" name="텍스트 개체 틀 1"/>
          <p:cNvSpPr>
            <a:spLocks noGrp="1"/>
          </p:cNvSpPr>
          <p:nvPr>
            <p:ph type="body" sz="quarter" idx="19"/>
          </p:nvPr>
        </p:nvSpPr>
        <p:spPr>
          <a:xfrm>
            <a:off x="276742" y="164293"/>
            <a:ext cx="8238607" cy="369332"/>
          </a:xfrm>
        </p:spPr>
        <p:txBody>
          <a:bodyPr/>
          <a:lstStyle/>
          <a:p>
            <a:r>
              <a:rPr lang="en-US" altLang="ko-KR" dirty="0"/>
              <a:t>Low Sound</a:t>
            </a:r>
          </a:p>
        </p:txBody>
      </p:sp>
      <p:sp>
        <p:nvSpPr>
          <p:cNvPr id="6" name="텍스트 개체 틀 5"/>
          <p:cNvSpPr>
            <a:spLocks noGrp="1"/>
          </p:cNvSpPr>
          <p:nvPr>
            <p:ph type="body" sz="quarter" idx="20"/>
          </p:nvPr>
        </p:nvSpPr>
        <p:spPr/>
        <p:txBody>
          <a:bodyPr/>
          <a:lstStyle/>
          <a:p>
            <a:r>
              <a:rPr lang="en-US" altLang="ko-KR" dirty="0"/>
              <a:t>Comfort</a:t>
            </a:r>
          </a:p>
        </p:txBody>
      </p:sp>
      <p:sp>
        <p:nvSpPr>
          <p:cNvPr id="3" name="텍스트 개체 틀 2"/>
          <p:cNvSpPr>
            <a:spLocks noGrp="1"/>
          </p:cNvSpPr>
          <p:nvPr>
            <p:ph type="body" sz="quarter" idx="21"/>
          </p:nvPr>
        </p:nvSpPr>
        <p:spPr>
          <a:xfrm>
            <a:off x="278422" y="748127"/>
            <a:ext cx="9342438" cy="492443"/>
          </a:xfrm>
        </p:spPr>
        <p:txBody>
          <a:bodyPr/>
          <a:lstStyle/>
          <a:p>
            <a:r>
              <a:rPr lang="en-US" altLang="ko-KR" dirty="0"/>
              <a:t>LG provides quiet ventilation to customers by low sound fan, highly efficient motor, low air resistance filter </a:t>
            </a:r>
          </a:p>
        </p:txBody>
      </p:sp>
      <p:sp>
        <p:nvSpPr>
          <p:cNvPr id="30" name="막힌 원호 29">
            <a:extLst>
              <a:ext uri="{FF2B5EF4-FFF2-40B4-BE49-F238E27FC236}">
                <a16:creationId xmlns:a16="http://schemas.microsoft.com/office/drawing/2014/main" id="{B4A796C2-F710-43BB-BD40-423DE3256813}"/>
              </a:ext>
            </a:extLst>
          </p:cNvPr>
          <p:cNvSpPr/>
          <p:nvPr/>
        </p:nvSpPr>
        <p:spPr>
          <a:xfrm>
            <a:off x="1993064" y="3064474"/>
            <a:ext cx="2798851" cy="2733235"/>
          </a:xfrm>
          <a:prstGeom prst="blockArc">
            <a:avLst>
              <a:gd name="adj1" fmla="val 10800000"/>
              <a:gd name="adj2" fmla="val 20823"/>
              <a:gd name="adj3" fmla="val 11641"/>
            </a:avLst>
          </a:prstGeom>
          <a:gradFill flip="none" rotWithShape="1">
            <a:gsLst>
              <a:gs pos="0">
                <a:srgbClr val="FF0000"/>
              </a:gs>
              <a:gs pos="25000">
                <a:srgbClr val="C30037"/>
              </a:gs>
              <a:gs pos="88000">
                <a:schemeClr val="tx2">
                  <a:lumMod val="60000"/>
                  <a:lumOff val="40000"/>
                </a:schemeClr>
              </a:gs>
              <a:gs pos="54000">
                <a:srgbClr val="7030A0"/>
              </a:gs>
              <a:gs pos="70000">
                <a:srgbClr val="0586EB"/>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anose="020B0604020202020204" pitchFamily="34" charset="0"/>
              <a:cs typeface="Arial" panose="020B0604020202020204" pitchFamily="34" charset="0"/>
            </a:endParaRPr>
          </a:p>
        </p:txBody>
      </p:sp>
      <p:grpSp>
        <p:nvGrpSpPr>
          <p:cNvPr id="32" name="그룹 31">
            <a:extLst>
              <a:ext uri="{FF2B5EF4-FFF2-40B4-BE49-F238E27FC236}">
                <a16:creationId xmlns:a16="http://schemas.microsoft.com/office/drawing/2014/main" id="{CACB4ECE-956D-4A88-883E-93C271CBE69F}"/>
              </a:ext>
            </a:extLst>
          </p:cNvPr>
          <p:cNvGrpSpPr/>
          <p:nvPr/>
        </p:nvGrpSpPr>
        <p:grpSpPr>
          <a:xfrm>
            <a:off x="6018521" y="1826738"/>
            <a:ext cx="1122932" cy="1398653"/>
            <a:chOff x="5973313" y="1901880"/>
            <a:chExt cx="900000" cy="1120983"/>
          </a:xfrm>
        </p:grpSpPr>
        <p:grpSp>
          <p:nvGrpSpPr>
            <p:cNvPr id="33" name="그룹 32">
              <a:extLst>
                <a:ext uri="{FF2B5EF4-FFF2-40B4-BE49-F238E27FC236}">
                  <a16:creationId xmlns:a16="http://schemas.microsoft.com/office/drawing/2014/main" id="{5C821EB5-7546-43C7-9A8A-2463DCA658D5}"/>
                </a:ext>
              </a:extLst>
            </p:cNvPr>
            <p:cNvGrpSpPr/>
            <p:nvPr/>
          </p:nvGrpSpPr>
          <p:grpSpPr>
            <a:xfrm>
              <a:off x="5973313" y="1901880"/>
              <a:ext cx="900000" cy="900000"/>
              <a:chOff x="5096102" y="1987069"/>
              <a:chExt cx="900000" cy="900000"/>
            </a:xfrm>
          </p:grpSpPr>
          <p:sp>
            <p:nvSpPr>
              <p:cNvPr id="35" name="Rectangle 23">
                <a:extLst>
                  <a:ext uri="{FF2B5EF4-FFF2-40B4-BE49-F238E27FC236}">
                    <a16:creationId xmlns:a16="http://schemas.microsoft.com/office/drawing/2014/main" id="{AE61B050-7C57-4077-8BEF-0ABC457D7065}"/>
                  </a:ext>
                </a:extLst>
              </p:cNvPr>
              <p:cNvSpPr>
                <a:spLocks noChangeArrowheads="1"/>
              </p:cNvSpPr>
              <p:nvPr/>
            </p:nvSpPr>
            <p:spPr bwMode="auto">
              <a:xfrm>
                <a:off x="5096102" y="1987069"/>
                <a:ext cx="900000" cy="900000"/>
              </a:xfrm>
              <a:prstGeom prst="ellipse">
                <a:avLst/>
              </a:prstGeom>
              <a:solidFill>
                <a:schemeClr val="bg1"/>
              </a:solidFill>
              <a:ln w="9525">
                <a:solidFill>
                  <a:schemeClr val="bg1"/>
                </a:solidFill>
                <a:miter lim="800000"/>
                <a:headEnd/>
                <a:tailEnd/>
              </a:ln>
            </p:spPr>
            <p:txBody>
              <a:bodyPr wrap="none" anchor="ct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endParaRPr lang="ko-KR" altLang="en-US" sz="2000">
                  <a:latin typeface="Arial" panose="020B0604020202020204" pitchFamily="34" charset="0"/>
                  <a:cs typeface="Arial" panose="020B0604020202020204" pitchFamily="34" charset="0"/>
                </a:endParaRPr>
              </a:p>
            </p:txBody>
          </p:sp>
          <p:pic>
            <p:nvPicPr>
              <p:cNvPr id="36" name="Picture 22">
                <a:extLst>
                  <a:ext uri="{FF2B5EF4-FFF2-40B4-BE49-F238E27FC236}">
                    <a16:creationId xmlns:a16="http://schemas.microsoft.com/office/drawing/2014/main" id="{B85F9143-3C74-4788-880E-7D1E2F40ED6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227133" y="2171701"/>
                <a:ext cx="637938" cy="55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Text Box 69">
              <a:extLst>
                <a:ext uri="{FF2B5EF4-FFF2-40B4-BE49-F238E27FC236}">
                  <a16:creationId xmlns:a16="http://schemas.microsoft.com/office/drawing/2014/main" id="{2594D331-2795-47DC-9A57-3AA890CF0B5C}"/>
                </a:ext>
              </a:extLst>
            </p:cNvPr>
            <p:cNvSpPr txBox="1">
              <a:spLocks noChangeArrowheads="1"/>
            </p:cNvSpPr>
            <p:nvPr/>
          </p:nvSpPr>
          <p:spPr bwMode="auto">
            <a:xfrm>
              <a:off x="6055870" y="2887192"/>
              <a:ext cx="734885" cy="135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defTabSz="957263" eaLnBrk="0" hangingPunct="0">
                <a:defRPr kumimoji="1">
                  <a:solidFill>
                    <a:schemeClr val="tx1"/>
                  </a:solidFill>
                  <a:latin typeface="굴림" charset="-127"/>
                  <a:ea typeface="굴림" charset="-127"/>
                </a:defRPr>
              </a:lvl1pPr>
              <a:lvl2pPr marL="742950" indent="-285750" defTabSz="957263" eaLnBrk="0" hangingPunct="0">
                <a:defRPr kumimoji="1">
                  <a:solidFill>
                    <a:schemeClr val="tx1"/>
                  </a:solidFill>
                  <a:latin typeface="굴림" charset="-127"/>
                  <a:ea typeface="굴림" charset="-127"/>
                </a:defRPr>
              </a:lvl2pPr>
              <a:lvl3pPr marL="1143000" indent="-228600" defTabSz="957263" eaLnBrk="0" hangingPunct="0">
                <a:defRPr kumimoji="1">
                  <a:solidFill>
                    <a:schemeClr val="tx1"/>
                  </a:solidFill>
                  <a:latin typeface="굴림" charset="-127"/>
                  <a:ea typeface="굴림" charset="-127"/>
                </a:defRPr>
              </a:lvl3pPr>
              <a:lvl4pPr marL="1600200" indent="-228600" defTabSz="957263" eaLnBrk="0" hangingPunct="0">
                <a:defRPr kumimoji="1">
                  <a:solidFill>
                    <a:schemeClr val="tx1"/>
                  </a:solidFill>
                  <a:latin typeface="굴림" charset="-127"/>
                  <a:ea typeface="굴림" charset="-127"/>
                </a:defRPr>
              </a:lvl4pPr>
              <a:lvl5pPr marL="2057400" indent="-228600" defTabSz="957263" eaLnBrk="0" hangingPunct="0">
                <a:defRPr kumimoji="1">
                  <a:solidFill>
                    <a:schemeClr val="tx1"/>
                  </a:solidFill>
                  <a:latin typeface="굴림" charset="-127"/>
                  <a:ea typeface="굴림" charset="-127"/>
                </a:defRPr>
              </a:lvl5pPr>
              <a:lvl6pPr marL="2514600" indent="-228600" defTabSz="957263" eaLnBrk="0" fontAlgn="base" hangingPunct="0">
                <a:spcBef>
                  <a:spcPct val="0"/>
                </a:spcBef>
                <a:spcAft>
                  <a:spcPct val="0"/>
                </a:spcAft>
                <a:defRPr kumimoji="1">
                  <a:solidFill>
                    <a:schemeClr val="tx1"/>
                  </a:solidFill>
                  <a:latin typeface="굴림" charset="-127"/>
                  <a:ea typeface="굴림" charset="-127"/>
                </a:defRPr>
              </a:lvl6pPr>
              <a:lvl7pPr marL="2971800" indent="-228600" defTabSz="957263" eaLnBrk="0" fontAlgn="base" hangingPunct="0">
                <a:spcBef>
                  <a:spcPct val="0"/>
                </a:spcBef>
                <a:spcAft>
                  <a:spcPct val="0"/>
                </a:spcAft>
                <a:defRPr kumimoji="1">
                  <a:solidFill>
                    <a:schemeClr val="tx1"/>
                  </a:solidFill>
                  <a:latin typeface="굴림" charset="-127"/>
                  <a:ea typeface="굴림" charset="-127"/>
                </a:defRPr>
              </a:lvl7pPr>
              <a:lvl8pPr marL="3429000" indent="-228600" defTabSz="957263" eaLnBrk="0" fontAlgn="base" hangingPunct="0">
                <a:spcBef>
                  <a:spcPct val="0"/>
                </a:spcBef>
                <a:spcAft>
                  <a:spcPct val="0"/>
                </a:spcAft>
                <a:defRPr kumimoji="1">
                  <a:solidFill>
                    <a:schemeClr val="tx1"/>
                  </a:solidFill>
                  <a:latin typeface="굴림" charset="-127"/>
                  <a:ea typeface="굴림" charset="-127"/>
                </a:defRPr>
              </a:lvl8pPr>
              <a:lvl9pPr marL="3886200" indent="-228600" defTabSz="957263" eaLnBrk="0" fontAlgn="base" hangingPunct="0">
                <a:spcBef>
                  <a:spcPct val="0"/>
                </a:spcBef>
                <a:spcAft>
                  <a:spcPct val="0"/>
                </a:spcAft>
                <a:defRPr kumimoji="1">
                  <a:solidFill>
                    <a:schemeClr val="tx1"/>
                  </a:solidFill>
                  <a:latin typeface="굴림" charset="-127"/>
                  <a:ea typeface="굴림" charset="-127"/>
                </a:defRPr>
              </a:lvl9pPr>
            </a:lstStyle>
            <a:p>
              <a:pPr algn="ctr" latinLnBrk="0"/>
              <a:r>
                <a:rPr lang="en-US" altLang="ko-KR" sz="1100" dirty="0">
                  <a:latin typeface="Arial" panose="020B0604020202020204" pitchFamily="34" charset="0"/>
                  <a:ea typeface="LG스마트체2.0 Regular" panose="020B0600000101010101" pitchFamily="50" charset="-127"/>
                  <a:cs typeface="Arial" panose="020B0604020202020204" pitchFamily="34" charset="0"/>
                </a:rPr>
                <a:t>Low sound fan</a:t>
              </a:r>
              <a:endParaRPr lang="en-US" altLang="en-US" sz="1100" dirty="0">
                <a:latin typeface="Arial" panose="020B0604020202020204" pitchFamily="34" charset="0"/>
                <a:ea typeface="LG스마트체2.0 Regular" panose="020B0600000101010101" pitchFamily="50" charset="-127"/>
                <a:cs typeface="Arial" panose="020B0604020202020204" pitchFamily="34" charset="0"/>
              </a:endParaRPr>
            </a:p>
          </p:txBody>
        </p:sp>
      </p:grpSp>
      <p:grpSp>
        <p:nvGrpSpPr>
          <p:cNvPr id="37" name="그룹 36">
            <a:extLst>
              <a:ext uri="{FF2B5EF4-FFF2-40B4-BE49-F238E27FC236}">
                <a16:creationId xmlns:a16="http://schemas.microsoft.com/office/drawing/2014/main" id="{5AB87A5D-EF01-432C-A23D-113B7CA92C3C}"/>
              </a:ext>
            </a:extLst>
          </p:cNvPr>
          <p:cNvGrpSpPr/>
          <p:nvPr/>
        </p:nvGrpSpPr>
        <p:grpSpPr>
          <a:xfrm>
            <a:off x="8382069" y="1826737"/>
            <a:ext cx="1152933" cy="1567930"/>
            <a:chOff x="8638340" y="1901880"/>
            <a:chExt cx="924045" cy="1256654"/>
          </a:xfrm>
        </p:grpSpPr>
        <p:sp>
          <p:nvSpPr>
            <p:cNvPr id="38" name="Text Box 80">
              <a:extLst>
                <a:ext uri="{FF2B5EF4-FFF2-40B4-BE49-F238E27FC236}">
                  <a16:creationId xmlns:a16="http://schemas.microsoft.com/office/drawing/2014/main" id="{B62565F0-A00C-49A3-B823-1AEB349F305E}"/>
                </a:ext>
              </a:extLst>
            </p:cNvPr>
            <p:cNvSpPr txBox="1">
              <a:spLocks noChangeArrowheads="1"/>
            </p:cNvSpPr>
            <p:nvPr/>
          </p:nvSpPr>
          <p:spPr bwMode="auto">
            <a:xfrm>
              <a:off x="8745162" y="2887192"/>
              <a:ext cx="817223" cy="27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57263" eaLnBrk="0" hangingPunct="0">
                <a:defRPr kumimoji="1">
                  <a:solidFill>
                    <a:schemeClr val="tx1"/>
                  </a:solidFill>
                  <a:latin typeface="굴림" charset="-127"/>
                  <a:ea typeface="굴림" charset="-127"/>
                </a:defRPr>
              </a:lvl1pPr>
              <a:lvl2pPr marL="742950" indent="-285750" defTabSz="957263" eaLnBrk="0" hangingPunct="0">
                <a:defRPr kumimoji="1">
                  <a:solidFill>
                    <a:schemeClr val="tx1"/>
                  </a:solidFill>
                  <a:latin typeface="굴림" charset="-127"/>
                  <a:ea typeface="굴림" charset="-127"/>
                </a:defRPr>
              </a:lvl2pPr>
              <a:lvl3pPr marL="1143000" indent="-228600" defTabSz="957263" eaLnBrk="0" hangingPunct="0">
                <a:defRPr kumimoji="1">
                  <a:solidFill>
                    <a:schemeClr val="tx1"/>
                  </a:solidFill>
                  <a:latin typeface="굴림" charset="-127"/>
                  <a:ea typeface="굴림" charset="-127"/>
                </a:defRPr>
              </a:lvl3pPr>
              <a:lvl4pPr marL="1600200" indent="-228600" defTabSz="957263" eaLnBrk="0" hangingPunct="0">
                <a:defRPr kumimoji="1">
                  <a:solidFill>
                    <a:schemeClr val="tx1"/>
                  </a:solidFill>
                  <a:latin typeface="굴림" charset="-127"/>
                  <a:ea typeface="굴림" charset="-127"/>
                </a:defRPr>
              </a:lvl4pPr>
              <a:lvl5pPr marL="2057400" indent="-228600" defTabSz="957263" eaLnBrk="0" hangingPunct="0">
                <a:defRPr kumimoji="1">
                  <a:solidFill>
                    <a:schemeClr val="tx1"/>
                  </a:solidFill>
                  <a:latin typeface="굴림" charset="-127"/>
                  <a:ea typeface="굴림" charset="-127"/>
                </a:defRPr>
              </a:lvl5pPr>
              <a:lvl6pPr marL="2514600" indent="-228600" defTabSz="957263" eaLnBrk="0" fontAlgn="base" hangingPunct="0">
                <a:spcBef>
                  <a:spcPct val="0"/>
                </a:spcBef>
                <a:spcAft>
                  <a:spcPct val="0"/>
                </a:spcAft>
                <a:defRPr kumimoji="1">
                  <a:solidFill>
                    <a:schemeClr val="tx1"/>
                  </a:solidFill>
                  <a:latin typeface="굴림" charset="-127"/>
                  <a:ea typeface="굴림" charset="-127"/>
                </a:defRPr>
              </a:lvl6pPr>
              <a:lvl7pPr marL="2971800" indent="-228600" defTabSz="957263" eaLnBrk="0" fontAlgn="base" hangingPunct="0">
                <a:spcBef>
                  <a:spcPct val="0"/>
                </a:spcBef>
                <a:spcAft>
                  <a:spcPct val="0"/>
                </a:spcAft>
                <a:defRPr kumimoji="1">
                  <a:solidFill>
                    <a:schemeClr val="tx1"/>
                  </a:solidFill>
                  <a:latin typeface="굴림" charset="-127"/>
                  <a:ea typeface="굴림" charset="-127"/>
                </a:defRPr>
              </a:lvl7pPr>
              <a:lvl8pPr marL="3429000" indent="-228600" defTabSz="957263" eaLnBrk="0" fontAlgn="base" hangingPunct="0">
                <a:spcBef>
                  <a:spcPct val="0"/>
                </a:spcBef>
                <a:spcAft>
                  <a:spcPct val="0"/>
                </a:spcAft>
                <a:defRPr kumimoji="1">
                  <a:solidFill>
                    <a:schemeClr val="tx1"/>
                  </a:solidFill>
                  <a:latin typeface="굴림" charset="-127"/>
                  <a:ea typeface="굴림" charset="-127"/>
                </a:defRPr>
              </a:lvl8pPr>
              <a:lvl9pPr marL="3886200" indent="-228600" defTabSz="957263" eaLnBrk="0" fontAlgn="base" hangingPunct="0">
                <a:spcBef>
                  <a:spcPct val="0"/>
                </a:spcBef>
                <a:spcAft>
                  <a:spcPct val="0"/>
                </a:spcAft>
                <a:defRPr kumimoji="1">
                  <a:solidFill>
                    <a:schemeClr val="tx1"/>
                  </a:solidFill>
                  <a:latin typeface="굴림" charset="-127"/>
                  <a:ea typeface="굴림" charset="-127"/>
                </a:defRPr>
              </a:lvl9pPr>
            </a:lstStyle>
            <a:p>
              <a:pPr algn="ctr" latinLnBrk="0"/>
              <a:r>
                <a:rPr lang="en-US" altLang="ko-KR" sz="1100" dirty="0">
                  <a:latin typeface="Arial" panose="020B0604020202020204" pitchFamily="34" charset="0"/>
                  <a:ea typeface="LG스마트체2.0 Regular" panose="020B0600000101010101" pitchFamily="50" charset="-127"/>
                  <a:cs typeface="Arial" panose="020B0604020202020204" pitchFamily="34" charset="0"/>
                </a:rPr>
                <a:t>Low air resistance filter</a:t>
              </a:r>
            </a:p>
          </p:txBody>
        </p:sp>
        <p:pic>
          <p:nvPicPr>
            <p:cNvPr id="39" name="그림 38">
              <a:extLst>
                <a:ext uri="{FF2B5EF4-FFF2-40B4-BE49-F238E27FC236}">
                  <a16:creationId xmlns:a16="http://schemas.microsoft.com/office/drawing/2014/main" id="{19DC2245-C8A7-48CC-B9D0-36F3B981479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5608" t="4597" r="15608" b="4597"/>
            <a:stretch/>
          </p:blipFill>
          <p:spPr>
            <a:xfrm>
              <a:off x="8638340" y="1901880"/>
              <a:ext cx="900000" cy="900000"/>
            </a:xfrm>
            <a:prstGeom prst="ellipse">
              <a:avLst/>
            </a:prstGeom>
          </p:spPr>
        </p:pic>
      </p:grpSp>
      <p:grpSp>
        <p:nvGrpSpPr>
          <p:cNvPr id="40" name="그룹 39">
            <a:extLst>
              <a:ext uri="{FF2B5EF4-FFF2-40B4-BE49-F238E27FC236}">
                <a16:creationId xmlns:a16="http://schemas.microsoft.com/office/drawing/2014/main" id="{75C3F416-B3E0-4F74-8C97-8586185C5404}"/>
              </a:ext>
            </a:extLst>
          </p:cNvPr>
          <p:cNvGrpSpPr/>
          <p:nvPr/>
        </p:nvGrpSpPr>
        <p:grpSpPr>
          <a:xfrm>
            <a:off x="7193380" y="1826738"/>
            <a:ext cx="1122931" cy="1567929"/>
            <a:chOff x="7276725" y="1901880"/>
            <a:chExt cx="900000" cy="1256653"/>
          </a:xfrm>
        </p:grpSpPr>
        <p:sp>
          <p:nvSpPr>
            <p:cNvPr id="41" name="Text Box 88">
              <a:extLst>
                <a:ext uri="{FF2B5EF4-FFF2-40B4-BE49-F238E27FC236}">
                  <a16:creationId xmlns:a16="http://schemas.microsoft.com/office/drawing/2014/main" id="{B81C815E-A6B2-4CE0-90BE-D93E09C26BE4}"/>
                </a:ext>
              </a:extLst>
            </p:cNvPr>
            <p:cNvSpPr txBox="1">
              <a:spLocks noChangeArrowheads="1"/>
            </p:cNvSpPr>
            <p:nvPr/>
          </p:nvSpPr>
          <p:spPr bwMode="auto">
            <a:xfrm>
              <a:off x="7328684" y="2887191"/>
              <a:ext cx="807166" cy="27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57263" eaLnBrk="0" hangingPunct="0">
                <a:defRPr kumimoji="1">
                  <a:solidFill>
                    <a:schemeClr val="tx1"/>
                  </a:solidFill>
                  <a:latin typeface="굴림" charset="-127"/>
                  <a:ea typeface="굴림" charset="-127"/>
                </a:defRPr>
              </a:lvl1pPr>
              <a:lvl2pPr marL="742950" indent="-285750" defTabSz="957263" eaLnBrk="0" hangingPunct="0">
                <a:defRPr kumimoji="1">
                  <a:solidFill>
                    <a:schemeClr val="tx1"/>
                  </a:solidFill>
                  <a:latin typeface="굴림" charset="-127"/>
                  <a:ea typeface="굴림" charset="-127"/>
                </a:defRPr>
              </a:lvl2pPr>
              <a:lvl3pPr marL="1143000" indent="-228600" defTabSz="957263" eaLnBrk="0" hangingPunct="0">
                <a:defRPr kumimoji="1">
                  <a:solidFill>
                    <a:schemeClr val="tx1"/>
                  </a:solidFill>
                  <a:latin typeface="굴림" charset="-127"/>
                  <a:ea typeface="굴림" charset="-127"/>
                </a:defRPr>
              </a:lvl3pPr>
              <a:lvl4pPr marL="1600200" indent="-228600" defTabSz="957263" eaLnBrk="0" hangingPunct="0">
                <a:defRPr kumimoji="1">
                  <a:solidFill>
                    <a:schemeClr val="tx1"/>
                  </a:solidFill>
                  <a:latin typeface="굴림" charset="-127"/>
                  <a:ea typeface="굴림" charset="-127"/>
                </a:defRPr>
              </a:lvl4pPr>
              <a:lvl5pPr marL="2057400" indent="-228600" defTabSz="957263" eaLnBrk="0" hangingPunct="0">
                <a:defRPr kumimoji="1">
                  <a:solidFill>
                    <a:schemeClr val="tx1"/>
                  </a:solidFill>
                  <a:latin typeface="굴림" charset="-127"/>
                  <a:ea typeface="굴림" charset="-127"/>
                </a:defRPr>
              </a:lvl5pPr>
              <a:lvl6pPr marL="2514600" indent="-228600" defTabSz="957263" eaLnBrk="0" fontAlgn="base" hangingPunct="0">
                <a:spcBef>
                  <a:spcPct val="0"/>
                </a:spcBef>
                <a:spcAft>
                  <a:spcPct val="0"/>
                </a:spcAft>
                <a:defRPr kumimoji="1">
                  <a:solidFill>
                    <a:schemeClr val="tx1"/>
                  </a:solidFill>
                  <a:latin typeface="굴림" charset="-127"/>
                  <a:ea typeface="굴림" charset="-127"/>
                </a:defRPr>
              </a:lvl6pPr>
              <a:lvl7pPr marL="2971800" indent="-228600" defTabSz="957263" eaLnBrk="0" fontAlgn="base" hangingPunct="0">
                <a:spcBef>
                  <a:spcPct val="0"/>
                </a:spcBef>
                <a:spcAft>
                  <a:spcPct val="0"/>
                </a:spcAft>
                <a:defRPr kumimoji="1">
                  <a:solidFill>
                    <a:schemeClr val="tx1"/>
                  </a:solidFill>
                  <a:latin typeface="굴림" charset="-127"/>
                  <a:ea typeface="굴림" charset="-127"/>
                </a:defRPr>
              </a:lvl7pPr>
              <a:lvl8pPr marL="3429000" indent="-228600" defTabSz="957263" eaLnBrk="0" fontAlgn="base" hangingPunct="0">
                <a:spcBef>
                  <a:spcPct val="0"/>
                </a:spcBef>
                <a:spcAft>
                  <a:spcPct val="0"/>
                </a:spcAft>
                <a:defRPr kumimoji="1">
                  <a:solidFill>
                    <a:schemeClr val="tx1"/>
                  </a:solidFill>
                  <a:latin typeface="굴림" charset="-127"/>
                  <a:ea typeface="굴림" charset="-127"/>
                </a:defRPr>
              </a:lvl8pPr>
              <a:lvl9pPr marL="3886200" indent="-228600" defTabSz="957263" eaLnBrk="0" fontAlgn="base" hangingPunct="0">
                <a:spcBef>
                  <a:spcPct val="0"/>
                </a:spcBef>
                <a:spcAft>
                  <a:spcPct val="0"/>
                </a:spcAft>
                <a:defRPr kumimoji="1">
                  <a:solidFill>
                    <a:schemeClr val="tx1"/>
                  </a:solidFill>
                  <a:latin typeface="굴림" charset="-127"/>
                  <a:ea typeface="굴림" charset="-127"/>
                </a:defRPr>
              </a:lvl9pPr>
            </a:lstStyle>
            <a:p>
              <a:pPr algn="ctr" latinLnBrk="0"/>
              <a:r>
                <a:rPr lang="en-US" altLang="ko-KR" sz="1100">
                  <a:latin typeface="Arial" panose="020B0604020202020204" pitchFamily="34" charset="0"/>
                  <a:ea typeface="LG스마트체2.0 Regular" panose="020B0600000101010101" pitchFamily="50" charset="-127"/>
                  <a:cs typeface="Arial" panose="020B0604020202020204" pitchFamily="34" charset="0"/>
                </a:rPr>
                <a:t>High efficient </a:t>
              </a:r>
              <a:r>
                <a:rPr lang="en-US" altLang="ko-KR" sz="1100" dirty="0">
                  <a:latin typeface="Arial" panose="020B0604020202020204" pitchFamily="34" charset="0"/>
                  <a:ea typeface="LG스마트체2.0 Regular" panose="020B0600000101010101" pitchFamily="50" charset="-127"/>
                  <a:cs typeface="Arial" panose="020B0604020202020204" pitchFamily="34" charset="0"/>
                </a:rPr>
                <a:t>motor</a:t>
              </a:r>
            </a:p>
          </p:txBody>
        </p:sp>
        <p:grpSp>
          <p:nvGrpSpPr>
            <p:cNvPr id="42" name="그룹 41">
              <a:extLst>
                <a:ext uri="{FF2B5EF4-FFF2-40B4-BE49-F238E27FC236}">
                  <a16:creationId xmlns:a16="http://schemas.microsoft.com/office/drawing/2014/main" id="{38BBB5DE-A8E7-4974-83C2-D86BA4DDC723}"/>
                </a:ext>
              </a:extLst>
            </p:cNvPr>
            <p:cNvGrpSpPr/>
            <p:nvPr/>
          </p:nvGrpSpPr>
          <p:grpSpPr>
            <a:xfrm>
              <a:off x="7276725" y="1901880"/>
              <a:ext cx="900000" cy="900000"/>
              <a:chOff x="8493352" y="1987069"/>
              <a:chExt cx="900000" cy="900000"/>
            </a:xfrm>
          </p:grpSpPr>
          <p:sp>
            <p:nvSpPr>
              <p:cNvPr id="43" name="Rectangle 23">
                <a:extLst>
                  <a:ext uri="{FF2B5EF4-FFF2-40B4-BE49-F238E27FC236}">
                    <a16:creationId xmlns:a16="http://schemas.microsoft.com/office/drawing/2014/main" id="{97F5E8F0-8D20-4306-837E-3216243E94C5}"/>
                  </a:ext>
                </a:extLst>
              </p:cNvPr>
              <p:cNvSpPr>
                <a:spLocks noChangeArrowheads="1"/>
              </p:cNvSpPr>
              <p:nvPr/>
            </p:nvSpPr>
            <p:spPr bwMode="auto">
              <a:xfrm>
                <a:off x="8493352" y="1987069"/>
                <a:ext cx="900000" cy="900000"/>
              </a:xfrm>
              <a:prstGeom prst="ellipse">
                <a:avLst/>
              </a:prstGeom>
              <a:solidFill>
                <a:schemeClr val="bg1"/>
              </a:solidFill>
              <a:ln w="9525">
                <a:solidFill>
                  <a:schemeClr val="bg1"/>
                </a:solidFill>
                <a:miter lim="800000"/>
                <a:headEnd/>
                <a:tailEnd/>
              </a:ln>
            </p:spPr>
            <p:txBody>
              <a:bodyPr wrap="none" anchor="ct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endParaRPr lang="ko-KR" altLang="en-US" sz="2000">
                  <a:latin typeface="Arial" panose="020B0604020202020204" pitchFamily="34" charset="0"/>
                  <a:cs typeface="Arial" panose="020B0604020202020204" pitchFamily="34" charset="0"/>
                </a:endParaRPr>
              </a:p>
            </p:txBody>
          </p:sp>
          <p:pic>
            <p:nvPicPr>
              <p:cNvPr id="44" name="그림 43">
                <a:extLst>
                  <a:ext uri="{FF2B5EF4-FFF2-40B4-BE49-F238E27FC236}">
                    <a16:creationId xmlns:a16="http://schemas.microsoft.com/office/drawing/2014/main" id="{5AE7F885-12AC-4586-A2D4-4B00E28C10C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1214" t="-9159" r="-844" b="-2899"/>
              <a:stretch/>
            </p:blipFill>
            <p:spPr>
              <a:xfrm>
                <a:off x="8570750" y="2083608"/>
                <a:ext cx="745204" cy="745202"/>
              </a:xfrm>
              <a:prstGeom prst="ellipse">
                <a:avLst/>
              </a:prstGeom>
            </p:spPr>
          </p:pic>
        </p:grpSp>
      </p:grpSp>
      <p:sp>
        <p:nvSpPr>
          <p:cNvPr id="45" name="직사각형 44">
            <a:extLst>
              <a:ext uri="{FF2B5EF4-FFF2-40B4-BE49-F238E27FC236}">
                <a16:creationId xmlns:a16="http://schemas.microsoft.com/office/drawing/2014/main" id="{32EC5D47-6DB8-436C-A36D-1D0D439FB359}"/>
              </a:ext>
            </a:extLst>
          </p:cNvPr>
          <p:cNvSpPr/>
          <p:nvPr/>
        </p:nvSpPr>
        <p:spPr>
          <a:xfrm>
            <a:off x="42168" y="3868238"/>
            <a:ext cx="1455008" cy="430887"/>
          </a:xfrm>
          <a:prstGeom prst="rect">
            <a:avLst/>
          </a:prstGeom>
          <a:noFill/>
        </p:spPr>
        <p:txBody>
          <a:bodyPr wrap="square" rtlCol="0" anchor="ctr">
            <a:spAutoFit/>
          </a:bodyPr>
          <a:lstStyle/>
          <a:p>
            <a:pPr lvl="0" algn="ctr"/>
            <a:r>
              <a:rPr lang="en-US" altLang="ko-KR" sz="1100" b="1" dirty="0">
                <a:solidFill>
                  <a:schemeClr val="tx1"/>
                </a:solidFill>
                <a:latin typeface="Arial" panose="020B0604020202020204" pitchFamily="34" charset="0"/>
                <a:ea typeface="LG스마트체 Regular"/>
                <a:cs typeface="Arial" panose="020B0604020202020204" pitchFamily="34" charset="0"/>
              </a:rPr>
              <a:t>The sound of rustling leaves</a:t>
            </a:r>
          </a:p>
        </p:txBody>
      </p:sp>
      <p:grpSp>
        <p:nvGrpSpPr>
          <p:cNvPr id="47" name="그룹 46">
            <a:extLst>
              <a:ext uri="{FF2B5EF4-FFF2-40B4-BE49-F238E27FC236}">
                <a16:creationId xmlns:a16="http://schemas.microsoft.com/office/drawing/2014/main" id="{A0FDF990-E420-4588-B918-C611260C69B2}"/>
              </a:ext>
            </a:extLst>
          </p:cNvPr>
          <p:cNvGrpSpPr/>
          <p:nvPr/>
        </p:nvGrpSpPr>
        <p:grpSpPr>
          <a:xfrm>
            <a:off x="1968807" y="3145050"/>
            <a:ext cx="2725304" cy="1248497"/>
            <a:chOff x="1638522" y="3253805"/>
            <a:chExt cx="3190920" cy="1461802"/>
          </a:xfrm>
        </p:grpSpPr>
        <p:sp>
          <p:nvSpPr>
            <p:cNvPr id="48" name="직사각형 47">
              <a:extLst>
                <a:ext uri="{FF2B5EF4-FFF2-40B4-BE49-F238E27FC236}">
                  <a16:creationId xmlns:a16="http://schemas.microsoft.com/office/drawing/2014/main" id="{7ECE951C-F60E-4CBF-B464-64ED0E4AAAE7}"/>
                </a:ext>
              </a:extLst>
            </p:cNvPr>
            <p:cNvSpPr/>
            <p:nvPr/>
          </p:nvSpPr>
          <p:spPr>
            <a:xfrm>
              <a:off x="1638522" y="4445319"/>
              <a:ext cx="462029"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20</a:t>
              </a:r>
            </a:p>
          </p:txBody>
        </p:sp>
        <p:sp>
          <p:nvSpPr>
            <p:cNvPr id="49" name="직사각형 48">
              <a:extLst>
                <a:ext uri="{FF2B5EF4-FFF2-40B4-BE49-F238E27FC236}">
                  <a16:creationId xmlns:a16="http://schemas.microsoft.com/office/drawing/2014/main" id="{924BFF6B-E695-4B1A-8176-021BF3E7D738}"/>
                </a:ext>
              </a:extLst>
            </p:cNvPr>
            <p:cNvSpPr/>
            <p:nvPr/>
          </p:nvSpPr>
          <p:spPr>
            <a:xfrm>
              <a:off x="1678868" y="4007942"/>
              <a:ext cx="654646"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28*</a:t>
              </a:r>
            </a:p>
          </p:txBody>
        </p:sp>
        <p:sp>
          <p:nvSpPr>
            <p:cNvPr id="50" name="직사각형 49">
              <a:extLst>
                <a:ext uri="{FF2B5EF4-FFF2-40B4-BE49-F238E27FC236}">
                  <a16:creationId xmlns:a16="http://schemas.microsoft.com/office/drawing/2014/main" id="{DC3F4281-6E87-461B-8688-BB14B0AB8AF2}"/>
                </a:ext>
              </a:extLst>
            </p:cNvPr>
            <p:cNvSpPr/>
            <p:nvPr/>
          </p:nvSpPr>
          <p:spPr>
            <a:xfrm>
              <a:off x="2071888" y="3597573"/>
              <a:ext cx="462029"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30</a:t>
              </a:r>
            </a:p>
          </p:txBody>
        </p:sp>
        <p:sp>
          <p:nvSpPr>
            <p:cNvPr id="51" name="직사각형 50">
              <a:extLst>
                <a:ext uri="{FF2B5EF4-FFF2-40B4-BE49-F238E27FC236}">
                  <a16:creationId xmlns:a16="http://schemas.microsoft.com/office/drawing/2014/main" id="{7F3C072A-E924-4D79-8712-0D7071A90F8F}"/>
                </a:ext>
              </a:extLst>
            </p:cNvPr>
            <p:cNvSpPr/>
            <p:nvPr/>
          </p:nvSpPr>
          <p:spPr>
            <a:xfrm>
              <a:off x="2567188" y="3292773"/>
              <a:ext cx="462029"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40</a:t>
              </a:r>
            </a:p>
          </p:txBody>
        </p:sp>
        <p:sp>
          <p:nvSpPr>
            <p:cNvPr id="52" name="직사각형 51">
              <a:extLst>
                <a:ext uri="{FF2B5EF4-FFF2-40B4-BE49-F238E27FC236}">
                  <a16:creationId xmlns:a16="http://schemas.microsoft.com/office/drawing/2014/main" id="{285FFC23-196B-49FE-BD08-D4A04678F8DF}"/>
                </a:ext>
              </a:extLst>
            </p:cNvPr>
            <p:cNvSpPr/>
            <p:nvPr/>
          </p:nvSpPr>
          <p:spPr>
            <a:xfrm>
              <a:off x="3411738" y="3253805"/>
              <a:ext cx="462029"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60</a:t>
              </a:r>
            </a:p>
          </p:txBody>
        </p:sp>
        <p:sp>
          <p:nvSpPr>
            <p:cNvPr id="53" name="직사각형 52">
              <a:extLst>
                <a:ext uri="{FF2B5EF4-FFF2-40B4-BE49-F238E27FC236}">
                  <a16:creationId xmlns:a16="http://schemas.microsoft.com/office/drawing/2014/main" id="{B6D2722C-CCE6-452D-A461-C78EA7903F76}"/>
                </a:ext>
              </a:extLst>
            </p:cNvPr>
            <p:cNvSpPr/>
            <p:nvPr/>
          </p:nvSpPr>
          <p:spPr>
            <a:xfrm>
              <a:off x="4367413" y="3994448"/>
              <a:ext cx="462029" cy="270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200" spc="-100" dirty="0">
                  <a:ln>
                    <a:solidFill>
                      <a:schemeClr val="accent1">
                        <a:alpha val="0"/>
                      </a:schemeClr>
                    </a:solidFill>
                  </a:ln>
                  <a:solidFill>
                    <a:schemeClr val="bg1"/>
                  </a:solidFill>
                  <a:latin typeface="Arial" panose="020B0604020202020204" pitchFamily="34" charset="0"/>
                  <a:ea typeface="LG스마트체 SemiBold" pitchFamily="50" charset="-127"/>
                  <a:cs typeface="Arial" panose="020B0604020202020204" pitchFamily="34" charset="0"/>
                </a:rPr>
                <a:t>80</a:t>
              </a:r>
            </a:p>
          </p:txBody>
        </p:sp>
      </p:grpSp>
      <p:cxnSp>
        <p:nvCxnSpPr>
          <p:cNvPr id="54" name="직선 연결선 53">
            <a:extLst>
              <a:ext uri="{FF2B5EF4-FFF2-40B4-BE49-F238E27FC236}">
                <a16:creationId xmlns:a16="http://schemas.microsoft.com/office/drawing/2014/main" id="{836002F4-19FE-4A88-A409-835D457B8E54}"/>
              </a:ext>
            </a:extLst>
          </p:cNvPr>
          <p:cNvCxnSpPr>
            <a:cxnSpLocks/>
            <a:stCxn id="84" idx="6"/>
          </p:cNvCxnSpPr>
          <p:nvPr/>
        </p:nvCxnSpPr>
        <p:spPr>
          <a:xfrm>
            <a:off x="1753118" y="4259784"/>
            <a:ext cx="24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직선 연결선 54">
            <a:extLst>
              <a:ext uri="{FF2B5EF4-FFF2-40B4-BE49-F238E27FC236}">
                <a16:creationId xmlns:a16="http://schemas.microsoft.com/office/drawing/2014/main" id="{72480248-BAA8-4742-AE8B-786743E56E61}"/>
              </a:ext>
            </a:extLst>
          </p:cNvPr>
          <p:cNvCxnSpPr>
            <a:cxnSpLocks/>
          </p:cNvCxnSpPr>
          <p:nvPr/>
        </p:nvCxnSpPr>
        <p:spPr>
          <a:xfrm>
            <a:off x="1987550" y="3752850"/>
            <a:ext cx="151404" cy="82413"/>
          </a:xfrm>
          <a:prstGeom prst="line">
            <a:avLst/>
          </a:prstGeom>
          <a:noFill/>
          <a:ln w="6350">
            <a:gradFill>
              <a:gsLst>
                <a:gs pos="0">
                  <a:srgbClr val="F92763"/>
                </a:gs>
                <a:gs pos="100000">
                  <a:srgbClr val="0586EB"/>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grpSp>
        <p:nvGrpSpPr>
          <p:cNvPr id="56" name="그룹 55">
            <a:extLst>
              <a:ext uri="{FF2B5EF4-FFF2-40B4-BE49-F238E27FC236}">
                <a16:creationId xmlns:a16="http://schemas.microsoft.com/office/drawing/2014/main" id="{45365692-A5FC-4818-8536-43975F2ABF10}"/>
              </a:ext>
            </a:extLst>
          </p:cNvPr>
          <p:cNvGrpSpPr/>
          <p:nvPr/>
        </p:nvGrpSpPr>
        <p:grpSpPr>
          <a:xfrm>
            <a:off x="1462415" y="3384549"/>
            <a:ext cx="546470" cy="546470"/>
            <a:chOff x="591308" y="3400339"/>
            <a:chExt cx="507555" cy="507555"/>
          </a:xfrm>
        </p:grpSpPr>
        <p:sp>
          <p:nvSpPr>
            <p:cNvPr id="57" name="타원 56">
              <a:extLst>
                <a:ext uri="{FF2B5EF4-FFF2-40B4-BE49-F238E27FC236}">
                  <a16:creationId xmlns:a16="http://schemas.microsoft.com/office/drawing/2014/main" id="{65BD616D-552D-41F3-AB54-694086269E68}"/>
                </a:ext>
              </a:extLst>
            </p:cNvPr>
            <p:cNvSpPr/>
            <p:nvPr/>
          </p:nvSpPr>
          <p:spPr>
            <a:xfrm>
              <a:off x="638896" y="3447927"/>
              <a:ext cx="412378" cy="412378"/>
            </a:xfrm>
            <a:prstGeom prst="ellipse">
              <a:avLst/>
            </a:prstGeom>
            <a:solidFill>
              <a:schemeClr val="bg1"/>
            </a:solidFill>
            <a:ln w="38100">
              <a:gradFill>
                <a:gsLst>
                  <a:gs pos="0">
                    <a:srgbClr val="F92763"/>
                  </a:gs>
                  <a:gs pos="100000">
                    <a:srgbClr val="0586EB"/>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pic>
          <p:nvPicPr>
            <p:cNvPr id="80" name="그림 79">
              <a:extLst>
                <a:ext uri="{FF2B5EF4-FFF2-40B4-BE49-F238E27FC236}">
                  <a16:creationId xmlns:a16="http://schemas.microsoft.com/office/drawing/2014/main" id="{BA5CEE90-8956-44AE-8D6A-0F4C9EF8C814}"/>
                </a:ext>
              </a:extLst>
            </p:cNvPr>
            <p:cNvPicPr>
              <a:picLocks noChangeAspect="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76473" y="3562204"/>
              <a:ext cx="325858" cy="183756"/>
            </a:xfrm>
            <a:prstGeom prst="rect">
              <a:avLst/>
            </a:prstGeom>
            <a:effectLst/>
          </p:spPr>
        </p:pic>
        <p:sp>
          <p:nvSpPr>
            <p:cNvPr id="82" name="타원 81">
              <a:extLst>
                <a:ext uri="{FF2B5EF4-FFF2-40B4-BE49-F238E27FC236}">
                  <a16:creationId xmlns:a16="http://schemas.microsoft.com/office/drawing/2014/main" id="{9C650AF9-3953-4430-AA1F-EF6EE6ACDEB6}"/>
                </a:ext>
              </a:extLst>
            </p:cNvPr>
            <p:cNvSpPr/>
            <p:nvPr/>
          </p:nvSpPr>
          <p:spPr>
            <a:xfrm>
              <a:off x="591308" y="3400339"/>
              <a:ext cx="507555" cy="507555"/>
            </a:xfrm>
            <a:prstGeom prst="ellipse">
              <a:avLst/>
            </a:prstGeom>
            <a:noFill/>
            <a:ln w="15240">
              <a:gradFill>
                <a:gsLst>
                  <a:gs pos="0">
                    <a:srgbClr val="F92763"/>
                  </a:gs>
                  <a:gs pos="100000">
                    <a:srgbClr val="0586EB"/>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grpSp>
        <p:nvGrpSpPr>
          <p:cNvPr id="83" name="그룹 82">
            <a:extLst>
              <a:ext uri="{FF2B5EF4-FFF2-40B4-BE49-F238E27FC236}">
                <a16:creationId xmlns:a16="http://schemas.microsoft.com/office/drawing/2014/main" id="{8320EDBD-102A-47AF-91C6-5FB975D163F1}"/>
              </a:ext>
            </a:extLst>
          </p:cNvPr>
          <p:cNvGrpSpPr/>
          <p:nvPr/>
        </p:nvGrpSpPr>
        <p:grpSpPr>
          <a:xfrm>
            <a:off x="1400914" y="4083682"/>
            <a:ext cx="352204" cy="352204"/>
            <a:chOff x="175791" y="4305177"/>
            <a:chExt cx="412378" cy="412378"/>
          </a:xfrm>
        </p:grpSpPr>
        <p:sp>
          <p:nvSpPr>
            <p:cNvPr id="84" name="타원 83">
              <a:extLst>
                <a:ext uri="{FF2B5EF4-FFF2-40B4-BE49-F238E27FC236}">
                  <a16:creationId xmlns:a16="http://schemas.microsoft.com/office/drawing/2014/main" id="{86E9840C-BEA3-41A2-9E75-50DFA4386A6B}"/>
                </a:ext>
              </a:extLst>
            </p:cNvPr>
            <p:cNvSpPr/>
            <p:nvPr/>
          </p:nvSpPr>
          <p:spPr>
            <a:xfrm>
              <a:off x="175791" y="4305177"/>
              <a:ext cx="412378" cy="412378"/>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pic>
          <p:nvPicPr>
            <p:cNvPr id="85" name="그래픽 10">
              <a:extLst>
                <a:ext uri="{FF2B5EF4-FFF2-40B4-BE49-F238E27FC236}">
                  <a16:creationId xmlns:a16="http://schemas.microsoft.com/office/drawing/2014/main" id="{A760B6F9-8863-42F8-BB16-C9903D89586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44004" y="4430880"/>
              <a:ext cx="275952" cy="160972"/>
            </a:xfrm>
            <a:prstGeom prst="rect">
              <a:avLst/>
            </a:prstGeom>
          </p:spPr>
        </p:pic>
      </p:grpSp>
      <p:cxnSp>
        <p:nvCxnSpPr>
          <p:cNvPr id="86" name="직선 연결선 85">
            <a:extLst>
              <a:ext uri="{FF2B5EF4-FFF2-40B4-BE49-F238E27FC236}">
                <a16:creationId xmlns:a16="http://schemas.microsoft.com/office/drawing/2014/main" id="{0F57D4C3-F9F3-47B9-8F63-30E6F218E2ED}"/>
              </a:ext>
            </a:extLst>
          </p:cNvPr>
          <p:cNvCxnSpPr>
            <a:cxnSpLocks/>
            <a:endCxn id="88" idx="5"/>
          </p:cNvCxnSpPr>
          <p:nvPr/>
        </p:nvCxnSpPr>
        <p:spPr>
          <a:xfrm flipH="1" flipV="1">
            <a:off x="2218119" y="3249458"/>
            <a:ext cx="219293" cy="202467"/>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87" name="그룹 86">
            <a:extLst>
              <a:ext uri="{FF2B5EF4-FFF2-40B4-BE49-F238E27FC236}">
                <a16:creationId xmlns:a16="http://schemas.microsoft.com/office/drawing/2014/main" id="{EB0F924B-6A68-4BC6-B281-8B313CB30F1C}"/>
              </a:ext>
            </a:extLst>
          </p:cNvPr>
          <p:cNvGrpSpPr/>
          <p:nvPr/>
        </p:nvGrpSpPr>
        <p:grpSpPr>
          <a:xfrm>
            <a:off x="1917494" y="2948833"/>
            <a:ext cx="352204" cy="352204"/>
            <a:chOff x="1596730" y="3024065"/>
            <a:chExt cx="412378" cy="412378"/>
          </a:xfrm>
        </p:grpSpPr>
        <p:sp>
          <p:nvSpPr>
            <p:cNvPr id="88" name="타원 87">
              <a:extLst>
                <a:ext uri="{FF2B5EF4-FFF2-40B4-BE49-F238E27FC236}">
                  <a16:creationId xmlns:a16="http://schemas.microsoft.com/office/drawing/2014/main" id="{B3DEA1D0-B5A3-4EDC-A3E5-BD8323E8FBC4}"/>
                </a:ext>
              </a:extLst>
            </p:cNvPr>
            <p:cNvSpPr/>
            <p:nvPr/>
          </p:nvSpPr>
          <p:spPr>
            <a:xfrm>
              <a:off x="1596730" y="3024065"/>
              <a:ext cx="412378" cy="412378"/>
            </a:xfrm>
            <a:prstGeom prst="ellipse">
              <a:avLst/>
            </a:prstGeom>
            <a:solidFill>
              <a:schemeClr val="bg1"/>
            </a:solid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pic>
          <p:nvPicPr>
            <p:cNvPr id="89" name="그래픽 100">
              <a:extLst>
                <a:ext uri="{FF2B5EF4-FFF2-40B4-BE49-F238E27FC236}">
                  <a16:creationId xmlns:a16="http://schemas.microsoft.com/office/drawing/2014/main" id="{F1A16177-2617-4A8E-A493-311551696E6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708691" y="3086447"/>
              <a:ext cx="188456" cy="262962"/>
            </a:xfrm>
            <a:prstGeom prst="rect">
              <a:avLst/>
            </a:prstGeom>
          </p:spPr>
        </p:pic>
      </p:grpSp>
      <p:sp>
        <p:nvSpPr>
          <p:cNvPr id="90" name="직사각형 89">
            <a:extLst>
              <a:ext uri="{FF2B5EF4-FFF2-40B4-BE49-F238E27FC236}">
                <a16:creationId xmlns:a16="http://schemas.microsoft.com/office/drawing/2014/main" id="{57B97B6E-5311-4E1A-B5C7-14F6E179FB0B}"/>
              </a:ext>
            </a:extLst>
          </p:cNvPr>
          <p:cNvSpPr/>
          <p:nvPr/>
        </p:nvSpPr>
        <p:spPr>
          <a:xfrm>
            <a:off x="319464" y="2495902"/>
            <a:ext cx="2242923" cy="261610"/>
          </a:xfrm>
          <a:prstGeom prst="rect">
            <a:avLst/>
          </a:prstGeom>
          <a:noFill/>
        </p:spPr>
        <p:txBody>
          <a:bodyPr wrap="none" rtlCol="0" anchor="ctr">
            <a:spAutoFit/>
          </a:bodyPr>
          <a:lstStyle/>
          <a:p>
            <a:pPr lvl="0" algn="ctr"/>
            <a:r>
              <a:rPr lang="en-US" altLang="ko-KR" sz="1100" b="1" dirty="0">
                <a:solidFill>
                  <a:schemeClr val="tx1"/>
                </a:solidFill>
                <a:latin typeface="Arial" panose="020B0604020202020204" pitchFamily="34" charset="0"/>
                <a:ea typeface="LG스마트체 Regular"/>
                <a:cs typeface="Arial" panose="020B0604020202020204" pitchFamily="34" charset="0"/>
              </a:rPr>
              <a:t>Quiet Rural, Late Night Church</a:t>
            </a:r>
            <a:endParaRPr lang="ko-KR" altLang="en-US" sz="1100" b="1" dirty="0">
              <a:solidFill>
                <a:schemeClr val="tx1"/>
              </a:solidFill>
              <a:latin typeface="Arial" panose="020B0604020202020204" pitchFamily="34" charset="0"/>
              <a:ea typeface="LG스마트체 Regular"/>
              <a:cs typeface="Arial" panose="020B0604020202020204" pitchFamily="34" charset="0"/>
            </a:endParaRPr>
          </a:p>
        </p:txBody>
      </p:sp>
      <p:sp>
        <p:nvSpPr>
          <p:cNvPr id="91" name="직사각형 90">
            <a:extLst>
              <a:ext uri="{FF2B5EF4-FFF2-40B4-BE49-F238E27FC236}">
                <a16:creationId xmlns:a16="http://schemas.microsoft.com/office/drawing/2014/main" id="{BB0770A1-5F5C-45FE-8686-71D445F47963}"/>
              </a:ext>
            </a:extLst>
          </p:cNvPr>
          <p:cNvSpPr/>
          <p:nvPr/>
        </p:nvSpPr>
        <p:spPr>
          <a:xfrm>
            <a:off x="645034" y="2717416"/>
            <a:ext cx="1591782" cy="161583"/>
          </a:xfrm>
          <a:prstGeom prst="rect">
            <a:avLst/>
          </a:prstGeom>
          <a:noFill/>
        </p:spPr>
        <p:txBody>
          <a:bodyPr wrap="none" lIns="0" tIns="0" rIns="0" bIns="0" rtlCol="0" anchor="ctr">
            <a:spAutoFit/>
          </a:bodyPr>
          <a:lstStyle/>
          <a:p>
            <a:pPr lvl="0" algn="ctr"/>
            <a:r>
              <a:rPr lang="en-US" altLang="ko-KR" sz="1050" dirty="0">
                <a:solidFill>
                  <a:srgbClr val="0586EB"/>
                </a:solidFill>
                <a:latin typeface="Arial" panose="020B0604020202020204" pitchFamily="34" charset="0"/>
                <a:ea typeface="LG스마트체 Regular"/>
                <a:cs typeface="Arial" panose="020B0604020202020204" pitchFamily="34" charset="0"/>
              </a:rPr>
              <a:t>Little to no effect on sleep</a:t>
            </a:r>
            <a:endParaRPr lang="ko-KR" altLang="en-US" sz="1050" dirty="0">
              <a:solidFill>
                <a:srgbClr val="0586EB"/>
              </a:solidFill>
              <a:latin typeface="Arial" panose="020B0604020202020204" pitchFamily="34" charset="0"/>
              <a:ea typeface="LG스마트체 Regular"/>
              <a:cs typeface="Arial" panose="020B0604020202020204" pitchFamily="34" charset="0"/>
            </a:endParaRPr>
          </a:p>
        </p:txBody>
      </p:sp>
      <p:grpSp>
        <p:nvGrpSpPr>
          <p:cNvPr id="92" name="그룹 91">
            <a:extLst>
              <a:ext uri="{FF2B5EF4-FFF2-40B4-BE49-F238E27FC236}">
                <a16:creationId xmlns:a16="http://schemas.microsoft.com/office/drawing/2014/main" id="{27FB7E61-6D6F-47DF-B700-38B81275CEA4}"/>
              </a:ext>
            </a:extLst>
          </p:cNvPr>
          <p:cNvGrpSpPr/>
          <p:nvPr/>
        </p:nvGrpSpPr>
        <p:grpSpPr>
          <a:xfrm>
            <a:off x="2520573" y="4184038"/>
            <a:ext cx="1771107" cy="276999"/>
            <a:chOff x="2127204" y="2084370"/>
            <a:chExt cx="2073697" cy="324325"/>
          </a:xfrm>
        </p:grpSpPr>
        <p:sp>
          <p:nvSpPr>
            <p:cNvPr id="93" name="사각형: 둥근 모서리 38">
              <a:extLst>
                <a:ext uri="{FF2B5EF4-FFF2-40B4-BE49-F238E27FC236}">
                  <a16:creationId xmlns:a16="http://schemas.microsoft.com/office/drawing/2014/main" id="{2D3656E1-A7ED-4B4E-BEFF-CC4D32A9DFCB}"/>
                </a:ext>
              </a:extLst>
            </p:cNvPr>
            <p:cNvSpPr/>
            <p:nvPr/>
          </p:nvSpPr>
          <p:spPr>
            <a:xfrm>
              <a:off x="2206981" y="2088949"/>
              <a:ext cx="1878490" cy="315165"/>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grpSp>
          <p:nvGrpSpPr>
            <p:cNvPr id="94" name="그룹 93">
              <a:extLst>
                <a:ext uri="{FF2B5EF4-FFF2-40B4-BE49-F238E27FC236}">
                  <a16:creationId xmlns:a16="http://schemas.microsoft.com/office/drawing/2014/main" id="{91EC81D1-B552-492B-B01C-825CB739CDC7}"/>
                </a:ext>
              </a:extLst>
            </p:cNvPr>
            <p:cNvGrpSpPr/>
            <p:nvPr/>
          </p:nvGrpSpPr>
          <p:grpSpPr>
            <a:xfrm>
              <a:off x="2127204" y="2084370"/>
              <a:ext cx="2073697" cy="324325"/>
              <a:chOff x="2295636" y="4250974"/>
              <a:chExt cx="2073697" cy="324325"/>
            </a:xfrm>
          </p:grpSpPr>
          <p:sp>
            <p:nvSpPr>
              <p:cNvPr id="95" name="TextBox 94">
                <a:extLst>
                  <a:ext uri="{FF2B5EF4-FFF2-40B4-BE49-F238E27FC236}">
                    <a16:creationId xmlns:a16="http://schemas.microsoft.com/office/drawing/2014/main" id="{85F14E94-A0E9-4B8F-9E86-1C4DDB6336E3}"/>
                  </a:ext>
                </a:extLst>
              </p:cNvPr>
              <p:cNvSpPr txBox="1"/>
              <p:nvPr/>
            </p:nvSpPr>
            <p:spPr>
              <a:xfrm>
                <a:off x="3634945" y="4284227"/>
                <a:ext cx="734388" cy="288288"/>
              </a:xfrm>
              <a:prstGeom prst="rect">
                <a:avLst/>
              </a:prstGeom>
              <a:noFill/>
            </p:spPr>
            <p:txBody>
              <a:bodyPr wrap="square" rtlCol="0">
                <a:spAutoFit/>
                <a:scene3d>
                  <a:camera prst="orthographicFront"/>
                  <a:lightRig rig="threePt" dir="t"/>
                </a:scene3d>
                <a:sp3d>
                  <a:bevelT w="1270" h="1270"/>
                </a:sp3d>
              </a:bodyPr>
              <a:lstStyle/>
              <a:p>
                <a:pPr algn="ctr"/>
                <a:r>
                  <a:rPr lang="en-US" altLang="ko-KR" sz="1000" b="1" dirty="0">
                    <a:solidFill>
                      <a:schemeClr val="tx1">
                        <a:lumMod val="75000"/>
                        <a:lumOff val="25000"/>
                      </a:schemeClr>
                    </a:solidFill>
                    <a:latin typeface="Arial" panose="020B0604020202020204" pitchFamily="34" charset="0"/>
                    <a:ea typeface="LG스마트체2.0 Regular" panose="020B0600000101010101" pitchFamily="50" charset="-127"/>
                    <a:cs typeface="Arial" panose="020B0604020202020204" pitchFamily="34" charset="0"/>
                  </a:rPr>
                  <a:t>dB(A)</a:t>
                </a:r>
                <a:endParaRPr lang="ko-KR" altLang="en-US" sz="1000" b="1" dirty="0">
                  <a:solidFill>
                    <a:schemeClr val="tx1">
                      <a:lumMod val="75000"/>
                      <a:lumOff val="25000"/>
                    </a:schemeClr>
                  </a:solidFill>
                  <a:latin typeface="Arial" panose="020B0604020202020204" pitchFamily="34" charset="0"/>
                  <a:ea typeface="LG스마트체2.0 Regular" panose="020B0600000101010101" pitchFamily="50" charset="-127"/>
                  <a:cs typeface="Arial" panose="020B0604020202020204" pitchFamily="34" charset="0"/>
                </a:endParaRPr>
              </a:p>
            </p:txBody>
          </p:sp>
          <p:sp>
            <p:nvSpPr>
              <p:cNvPr id="96" name="직사각형 95">
                <a:extLst>
                  <a:ext uri="{FF2B5EF4-FFF2-40B4-BE49-F238E27FC236}">
                    <a16:creationId xmlns:a16="http://schemas.microsoft.com/office/drawing/2014/main" id="{A3C4D37D-1F26-4599-B635-262D4E8A8B82}"/>
                  </a:ext>
                </a:extLst>
              </p:cNvPr>
              <p:cNvSpPr/>
              <p:nvPr/>
            </p:nvSpPr>
            <p:spPr>
              <a:xfrm>
                <a:off x="2295636" y="4250974"/>
                <a:ext cx="1551198" cy="324325"/>
              </a:xfrm>
              <a:prstGeom prst="rect">
                <a:avLst/>
              </a:prstGeom>
              <a:noFill/>
            </p:spPr>
            <p:txBody>
              <a:bodyPr wrap="none" rtlCol="0" anchor="ctr">
                <a:spAutoFit/>
              </a:bodyPr>
              <a:lstStyle/>
              <a:p>
                <a:pPr algn="r"/>
                <a:r>
                  <a:rPr lang="en-US" altLang="ko-KR" sz="1200" spc="-50" dirty="0">
                    <a:ln>
                      <a:solidFill>
                        <a:srgbClr val="4472C4">
                          <a:alpha val="0"/>
                        </a:srgbClr>
                      </a:solidFill>
                    </a:ln>
                    <a:solidFill>
                      <a:schemeClr val="tx1">
                        <a:lumMod val="75000"/>
                        <a:lumOff val="25000"/>
                      </a:schemeClr>
                    </a:solidFill>
                    <a:latin typeface="Arial" panose="020B0604020202020204" pitchFamily="34" charset="0"/>
                    <a:ea typeface="LG스마트체 SemiBold" panose="020B0600000101010101" pitchFamily="50" charset="-127"/>
                    <a:cs typeface="Arial" panose="020B0604020202020204" pitchFamily="34" charset="0"/>
                  </a:rPr>
                  <a:t>The effect of noise</a:t>
                </a:r>
                <a:endParaRPr lang="ko-KR" altLang="en-US" sz="1200" spc="-50" dirty="0">
                  <a:ln>
                    <a:solidFill>
                      <a:srgbClr val="4472C4">
                        <a:alpha val="0"/>
                      </a:srgbClr>
                    </a:solidFill>
                  </a:ln>
                  <a:solidFill>
                    <a:schemeClr val="tx1">
                      <a:lumMod val="75000"/>
                      <a:lumOff val="25000"/>
                    </a:schemeClr>
                  </a:solidFill>
                  <a:latin typeface="Arial" panose="020B0604020202020204" pitchFamily="34" charset="0"/>
                  <a:ea typeface="LG스마트체 SemiBold" panose="020B0600000101010101" pitchFamily="50" charset="-127"/>
                  <a:cs typeface="Arial" panose="020B0604020202020204" pitchFamily="34" charset="0"/>
                </a:endParaRPr>
              </a:p>
            </p:txBody>
          </p:sp>
        </p:grpSp>
      </p:grpSp>
      <p:cxnSp>
        <p:nvCxnSpPr>
          <p:cNvPr id="97" name="직선 연결선 96">
            <a:extLst>
              <a:ext uri="{FF2B5EF4-FFF2-40B4-BE49-F238E27FC236}">
                <a16:creationId xmlns:a16="http://schemas.microsoft.com/office/drawing/2014/main" id="{6E207821-853D-4D7B-A603-35572E49195B}"/>
              </a:ext>
            </a:extLst>
          </p:cNvPr>
          <p:cNvCxnSpPr>
            <a:cxnSpLocks/>
            <a:stCxn id="99" idx="3"/>
          </p:cNvCxnSpPr>
          <p:nvPr/>
        </p:nvCxnSpPr>
        <p:spPr>
          <a:xfrm flipH="1">
            <a:off x="4498315" y="3395952"/>
            <a:ext cx="232945" cy="18923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98" name="그룹 97">
            <a:extLst>
              <a:ext uri="{FF2B5EF4-FFF2-40B4-BE49-F238E27FC236}">
                <a16:creationId xmlns:a16="http://schemas.microsoft.com/office/drawing/2014/main" id="{A37B1969-C5F5-46B2-86AA-B2452F73BBF5}"/>
              </a:ext>
            </a:extLst>
          </p:cNvPr>
          <p:cNvGrpSpPr/>
          <p:nvPr/>
        </p:nvGrpSpPr>
        <p:grpSpPr>
          <a:xfrm>
            <a:off x="4679681" y="3095327"/>
            <a:ext cx="352204" cy="352204"/>
            <a:chOff x="4780072" y="2889278"/>
            <a:chExt cx="412378" cy="412378"/>
          </a:xfrm>
        </p:grpSpPr>
        <p:sp>
          <p:nvSpPr>
            <p:cNvPr id="99" name="타원 98">
              <a:extLst>
                <a:ext uri="{FF2B5EF4-FFF2-40B4-BE49-F238E27FC236}">
                  <a16:creationId xmlns:a16="http://schemas.microsoft.com/office/drawing/2014/main" id="{9DD91204-247B-4E20-B23C-374EA28F4DE1}"/>
                </a:ext>
              </a:extLst>
            </p:cNvPr>
            <p:cNvSpPr/>
            <p:nvPr/>
          </p:nvSpPr>
          <p:spPr>
            <a:xfrm>
              <a:off x="4780072" y="2889278"/>
              <a:ext cx="412378" cy="412378"/>
            </a:xfrm>
            <a:prstGeom prst="ellipse">
              <a:avLst/>
            </a:prstGeom>
            <a:solidFill>
              <a:schemeClr val="bg1"/>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C30037"/>
                </a:solidFill>
                <a:latin typeface="Arial" panose="020B0604020202020204" pitchFamily="34" charset="0"/>
                <a:cs typeface="Arial" panose="020B0604020202020204" pitchFamily="34" charset="0"/>
              </a:endParaRPr>
            </a:p>
          </p:txBody>
        </p:sp>
        <p:pic>
          <p:nvPicPr>
            <p:cNvPr id="100" name="그래픽 11">
              <a:extLst>
                <a:ext uri="{FF2B5EF4-FFF2-40B4-BE49-F238E27FC236}">
                  <a16:creationId xmlns:a16="http://schemas.microsoft.com/office/drawing/2014/main" id="{A6AC9DCE-FBA4-485B-8021-AF24CC1A973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93484" y="2928064"/>
              <a:ext cx="188595" cy="330041"/>
            </a:xfrm>
            <a:prstGeom prst="rect">
              <a:avLst/>
            </a:prstGeom>
          </p:spPr>
        </p:pic>
      </p:grpSp>
      <p:sp>
        <p:nvSpPr>
          <p:cNvPr id="101" name="직사각형 100">
            <a:extLst>
              <a:ext uri="{FF2B5EF4-FFF2-40B4-BE49-F238E27FC236}">
                <a16:creationId xmlns:a16="http://schemas.microsoft.com/office/drawing/2014/main" id="{9A8E691F-8CFC-496C-B72A-8B8674265A1E}"/>
              </a:ext>
            </a:extLst>
          </p:cNvPr>
          <p:cNvSpPr/>
          <p:nvPr/>
        </p:nvSpPr>
        <p:spPr>
          <a:xfrm>
            <a:off x="4292969" y="2575141"/>
            <a:ext cx="1125629" cy="261610"/>
          </a:xfrm>
          <a:prstGeom prst="rect">
            <a:avLst/>
          </a:prstGeom>
          <a:noFill/>
        </p:spPr>
        <p:txBody>
          <a:bodyPr wrap="none" rtlCol="0" anchor="ctr">
            <a:spAutoFit/>
          </a:bodyPr>
          <a:lstStyle/>
          <a:p>
            <a:pPr lvl="0" algn="ctr"/>
            <a:r>
              <a:rPr lang="en-US" altLang="ko-KR" sz="1100" b="1" dirty="0">
                <a:latin typeface="Arial" panose="020B0604020202020204" pitchFamily="34" charset="0"/>
                <a:ea typeface="LG스마트체 Regular"/>
                <a:cs typeface="Arial" panose="020B0604020202020204" pitchFamily="34" charset="0"/>
              </a:rPr>
              <a:t>S</a:t>
            </a:r>
            <a:r>
              <a:rPr lang="en-US" altLang="ko-KR" sz="1100" b="1" dirty="0">
                <a:solidFill>
                  <a:schemeClr val="tx1"/>
                </a:solidFill>
                <a:latin typeface="Arial" panose="020B0604020202020204" pitchFamily="34" charset="0"/>
                <a:ea typeface="LG스마트체 Regular"/>
                <a:cs typeface="Arial" panose="020B0604020202020204" pitchFamily="34" charset="0"/>
              </a:rPr>
              <a:t>ubway noise</a:t>
            </a:r>
            <a:endParaRPr lang="ko-KR" altLang="en-US" sz="1100" b="1" dirty="0">
              <a:solidFill>
                <a:schemeClr val="tx1"/>
              </a:solidFill>
              <a:latin typeface="Arial" panose="020B0604020202020204" pitchFamily="34" charset="0"/>
              <a:ea typeface="LG스마트체 Regular"/>
              <a:cs typeface="Arial" panose="020B0604020202020204" pitchFamily="34" charset="0"/>
            </a:endParaRPr>
          </a:p>
        </p:txBody>
      </p:sp>
      <p:sp>
        <p:nvSpPr>
          <p:cNvPr id="102" name="직사각형 101">
            <a:extLst>
              <a:ext uri="{FF2B5EF4-FFF2-40B4-BE49-F238E27FC236}">
                <a16:creationId xmlns:a16="http://schemas.microsoft.com/office/drawing/2014/main" id="{CB3790FC-0FD2-4C84-AF15-06B660736380}"/>
              </a:ext>
            </a:extLst>
          </p:cNvPr>
          <p:cNvSpPr/>
          <p:nvPr/>
        </p:nvSpPr>
        <p:spPr>
          <a:xfrm>
            <a:off x="4094045" y="2756735"/>
            <a:ext cx="1523476" cy="323165"/>
          </a:xfrm>
          <a:prstGeom prst="rect">
            <a:avLst/>
          </a:prstGeom>
          <a:noFill/>
        </p:spPr>
        <p:txBody>
          <a:bodyPr wrap="square" lIns="0" tIns="0" rIns="0" bIns="0" rtlCol="0" anchor="ctr">
            <a:spAutoFit/>
          </a:bodyPr>
          <a:lstStyle/>
          <a:p>
            <a:pPr lvl="0" algn="ctr"/>
            <a:r>
              <a:rPr lang="en-US" altLang="ko-KR" sz="1050" dirty="0">
                <a:solidFill>
                  <a:srgbClr val="C00000"/>
                </a:solidFill>
                <a:latin typeface="Arial" panose="020B0604020202020204" pitchFamily="34" charset="0"/>
                <a:ea typeface="LG스마트체 Regular"/>
                <a:cs typeface="Arial" panose="020B0604020202020204" pitchFamily="34" charset="0"/>
              </a:rPr>
              <a:t>Onset of hearing loss (with extended exposure)</a:t>
            </a:r>
          </a:p>
        </p:txBody>
      </p:sp>
      <p:cxnSp>
        <p:nvCxnSpPr>
          <p:cNvPr id="103" name="직선 연결선 102">
            <a:extLst>
              <a:ext uri="{FF2B5EF4-FFF2-40B4-BE49-F238E27FC236}">
                <a16:creationId xmlns:a16="http://schemas.microsoft.com/office/drawing/2014/main" id="{E2A8F80B-C6A8-44B8-ADDC-09EF684938FE}"/>
              </a:ext>
            </a:extLst>
          </p:cNvPr>
          <p:cNvCxnSpPr>
            <a:cxnSpLocks/>
          </p:cNvCxnSpPr>
          <p:nvPr/>
        </p:nvCxnSpPr>
        <p:spPr>
          <a:xfrm>
            <a:off x="2806700" y="2921000"/>
            <a:ext cx="107950" cy="22860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04" name="그룹 103">
            <a:extLst>
              <a:ext uri="{FF2B5EF4-FFF2-40B4-BE49-F238E27FC236}">
                <a16:creationId xmlns:a16="http://schemas.microsoft.com/office/drawing/2014/main" id="{27291AFF-8780-47E2-A526-34E68BE8EB76}"/>
              </a:ext>
            </a:extLst>
          </p:cNvPr>
          <p:cNvGrpSpPr/>
          <p:nvPr/>
        </p:nvGrpSpPr>
        <p:grpSpPr>
          <a:xfrm>
            <a:off x="2549579" y="2574618"/>
            <a:ext cx="352204" cy="352204"/>
            <a:chOff x="2349205" y="2421323"/>
            <a:chExt cx="412378" cy="412378"/>
          </a:xfrm>
        </p:grpSpPr>
        <p:sp>
          <p:nvSpPr>
            <p:cNvPr id="105" name="타원 104">
              <a:extLst>
                <a:ext uri="{FF2B5EF4-FFF2-40B4-BE49-F238E27FC236}">
                  <a16:creationId xmlns:a16="http://schemas.microsoft.com/office/drawing/2014/main" id="{9225D1C9-A3A5-4E51-A66C-B73ADA11E584}"/>
                </a:ext>
              </a:extLst>
            </p:cNvPr>
            <p:cNvSpPr/>
            <p:nvPr/>
          </p:nvSpPr>
          <p:spPr>
            <a:xfrm>
              <a:off x="2349205" y="2421323"/>
              <a:ext cx="412378" cy="412378"/>
            </a:xfrm>
            <a:prstGeom prst="ellipse">
              <a:avLst/>
            </a:prstGeom>
            <a:solidFill>
              <a:schemeClr val="bg1"/>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pic>
          <p:nvPicPr>
            <p:cNvPr id="106" name="그래픽 5">
              <a:extLst>
                <a:ext uri="{FF2B5EF4-FFF2-40B4-BE49-F238E27FC236}">
                  <a16:creationId xmlns:a16="http://schemas.microsoft.com/office/drawing/2014/main" id="{7976304E-7293-49BD-9BB7-2FE9488270A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415138" y="2560853"/>
              <a:ext cx="286884" cy="152040"/>
            </a:xfrm>
            <a:prstGeom prst="rect">
              <a:avLst/>
            </a:prstGeom>
          </p:spPr>
        </p:pic>
      </p:grpSp>
      <p:sp>
        <p:nvSpPr>
          <p:cNvPr id="107" name="직사각형 106">
            <a:extLst>
              <a:ext uri="{FF2B5EF4-FFF2-40B4-BE49-F238E27FC236}">
                <a16:creationId xmlns:a16="http://schemas.microsoft.com/office/drawing/2014/main" id="{8F9E44BB-BD11-4036-86FE-50FCFC249B2A}"/>
              </a:ext>
            </a:extLst>
          </p:cNvPr>
          <p:cNvSpPr/>
          <p:nvPr/>
        </p:nvSpPr>
        <p:spPr>
          <a:xfrm>
            <a:off x="1851126" y="2137655"/>
            <a:ext cx="1340432" cy="261610"/>
          </a:xfrm>
          <a:prstGeom prst="rect">
            <a:avLst/>
          </a:prstGeom>
          <a:noFill/>
        </p:spPr>
        <p:txBody>
          <a:bodyPr wrap="none" rtlCol="0" anchor="ctr">
            <a:spAutoFit/>
          </a:bodyPr>
          <a:lstStyle/>
          <a:p>
            <a:pPr lvl="0" algn="ctr"/>
            <a:r>
              <a:rPr lang="en-US" altLang="ko-KR" sz="1100" b="1" dirty="0">
                <a:solidFill>
                  <a:schemeClr val="tx1"/>
                </a:solidFill>
                <a:latin typeface="Arial" panose="020B0604020202020204" pitchFamily="34" charset="0"/>
                <a:ea typeface="LG스마트체 Regular"/>
                <a:cs typeface="Arial" panose="020B0604020202020204" pitchFamily="34" charset="0"/>
              </a:rPr>
              <a:t>Quiet living room</a:t>
            </a:r>
            <a:endParaRPr lang="ko-KR" altLang="en-US" sz="1100" b="1" dirty="0">
              <a:solidFill>
                <a:schemeClr val="tx1"/>
              </a:solidFill>
              <a:latin typeface="Arial" panose="020B0604020202020204" pitchFamily="34" charset="0"/>
              <a:ea typeface="LG스마트체 Regular"/>
              <a:cs typeface="Arial" panose="020B0604020202020204" pitchFamily="34" charset="0"/>
            </a:endParaRPr>
          </a:p>
        </p:txBody>
      </p:sp>
      <p:sp>
        <p:nvSpPr>
          <p:cNvPr id="108" name="직사각형 107">
            <a:extLst>
              <a:ext uri="{FF2B5EF4-FFF2-40B4-BE49-F238E27FC236}">
                <a16:creationId xmlns:a16="http://schemas.microsoft.com/office/drawing/2014/main" id="{B2AF5A28-DEEB-40B6-B748-9C86F4A5D042}"/>
              </a:ext>
            </a:extLst>
          </p:cNvPr>
          <p:cNvSpPr/>
          <p:nvPr/>
        </p:nvSpPr>
        <p:spPr>
          <a:xfrm>
            <a:off x="2113270" y="2339860"/>
            <a:ext cx="1061188" cy="161583"/>
          </a:xfrm>
          <a:prstGeom prst="rect">
            <a:avLst/>
          </a:prstGeom>
          <a:noFill/>
        </p:spPr>
        <p:txBody>
          <a:bodyPr wrap="none" lIns="0" tIns="0" rIns="0" bIns="0" rtlCol="0" anchor="ctr">
            <a:spAutoFit/>
          </a:bodyPr>
          <a:lstStyle/>
          <a:p>
            <a:pPr lvl="0" algn="ctr"/>
            <a:r>
              <a:rPr lang="en-US" altLang="ko-KR" sz="1050" dirty="0">
                <a:solidFill>
                  <a:srgbClr val="002060"/>
                </a:solidFill>
                <a:latin typeface="Arial" panose="020B0604020202020204" pitchFamily="34" charset="0"/>
                <a:ea typeface="LG스마트체 Regular"/>
                <a:cs typeface="Arial" panose="020B0604020202020204" pitchFamily="34" charset="0"/>
              </a:rPr>
              <a:t>lower sleep depth</a:t>
            </a:r>
            <a:endParaRPr lang="ko-KR" altLang="en-US" sz="1050" dirty="0">
              <a:solidFill>
                <a:srgbClr val="002060"/>
              </a:solidFill>
              <a:latin typeface="Arial" panose="020B0604020202020204" pitchFamily="34" charset="0"/>
              <a:ea typeface="LG스마트체 Regular"/>
              <a:cs typeface="Arial" panose="020B0604020202020204" pitchFamily="34" charset="0"/>
            </a:endParaRPr>
          </a:p>
        </p:txBody>
      </p:sp>
      <p:cxnSp>
        <p:nvCxnSpPr>
          <p:cNvPr id="109" name="직선 연결선 108">
            <a:extLst>
              <a:ext uri="{FF2B5EF4-FFF2-40B4-BE49-F238E27FC236}">
                <a16:creationId xmlns:a16="http://schemas.microsoft.com/office/drawing/2014/main" id="{916A903B-73A7-4739-B369-594137FA7C7C}"/>
              </a:ext>
            </a:extLst>
          </p:cNvPr>
          <p:cNvCxnSpPr>
            <a:cxnSpLocks/>
            <a:endCxn id="111" idx="4"/>
          </p:cNvCxnSpPr>
          <p:nvPr/>
        </p:nvCxnSpPr>
        <p:spPr>
          <a:xfrm flipV="1">
            <a:off x="3801535" y="2845204"/>
            <a:ext cx="40729" cy="283249"/>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grpSp>
        <p:nvGrpSpPr>
          <p:cNvPr id="110" name="그룹 109">
            <a:extLst>
              <a:ext uri="{FF2B5EF4-FFF2-40B4-BE49-F238E27FC236}">
                <a16:creationId xmlns:a16="http://schemas.microsoft.com/office/drawing/2014/main" id="{A0A59449-5E16-412E-886A-E717F981396B}"/>
              </a:ext>
            </a:extLst>
          </p:cNvPr>
          <p:cNvGrpSpPr/>
          <p:nvPr/>
        </p:nvGrpSpPr>
        <p:grpSpPr>
          <a:xfrm>
            <a:off x="3666162" y="2493000"/>
            <a:ext cx="352204" cy="352204"/>
            <a:chOff x="3541713" y="2325760"/>
            <a:chExt cx="412378" cy="412378"/>
          </a:xfrm>
        </p:grpSpPr>
        <p:sp>
          <p:nvSpPr>
            <p:cNvPr id="111" name="타원 110">
              <a:extLst>
                <a:ext uri="{FF2B5EF4-FFF2-40B4-BE49-F238E27FC236}">
                  <a16:creationId xmlns:a16="http://schemas.microsoft.com/office/drawing/2014/main" id="{34BFE094-80F6-4ED3-9BC3-98B82871629E}"/>
                </a:ext>
              </a:extLst>
            </p:cNvPr>
            <p:cNvSpPr/>
            <p:nvPr/>
          </p:nvSpPr>
          <p:spPr>
            <a:xfrm>
              <a:off x="3541713" y="2325760"/>
              <a:ext cx="412378" cy="412378"/>
            </a:xfrm>
            <a:prstGeom prst="ellipse">
              <a:avLst/>
            </a:prstGeom>
            <a:solidFill>
              <a:schemeClr val="bg1"/>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pic>
          <p:nvPicPr>
            <p:cNvPr id="112" name="그래픽 13">
              <a:extLst>
                <a:ext uri="{FF2B5EF4-FFF2-40B4-BE49-F238E27FC236}">
                  <a16:creationId xmlns:a16="http://schemas.microsoft.com/office/drawing/2014/main" id="{6AF54D1E-4FF5-4372-AE73-9646E1D0FD0F}"/>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634976" y="2412822"/>
              <a:ext cx="225853" cy="238255"/>
            </a:xfrm>
            <a:prstGeom prst="rect">
              <a:avLst/>
            </a:prstGeom>
          </p:spPr>
        </p:pic>
      </p:grpSp>
      <p:sp>
        <p:nvSpPr>
          <p:cNvPr id="113" name="직사각형 112">
            <a:extLst>
              <a:ext uri="{FF2B5EF4-FFF2-40B4-BE49-F238E27FC236}">
                <a16:creationId xmlns:a16="http://schemas.microsoft.com/office/drawing/2014/main" id="{46113DD3-E2EF-4304-B8C3-2A1C9FB7D2EE}"/>
              </a:ext>
            </a:extLst>
          </p:cNvPr>
          <p:cNvSpPr/>
          <p:nvPr/>
        </p:nvSpPr>
        <p:spPr>
          <a:xfrm>
            <a:off x="3231932" y="2063084"/>
            <a:ext cx="1559983" cy="430887"/>
          </a:xfrm>
          <a:prstGeom prst="rect">
            <a:avLst/>
          </a:prstGeom>
          <a:noFill/>
        </p:spPr>
        <p:txBody>
          <a:bodyPr wrap="square" rtlCol="0" anchor="ctr">
            <a:spAutoFit/>
          </a:bodyPr>
          <a:lstStyle/>
          <a:p>
            <a:pPr lvl="0" algn="ctr"/>
            <a:r>
              <a:rPr lang="en-US" altLang="ko-KR" sz="1100" b="1" dirty="0">
                <a:latin typeface="Arial" panose="020B0604020202020204" pitchFamily="34" charset="0"/>
                <a:ea typeface="LG스마트체 Regular"/>
                <a:cs typeface="Arial" panose="020B0604020202020204" pitchFamily="34" charset="0"/>
              </a:rPr>
              <a:t>N</a:t>
            </a:r>
            <a:r>
              <a:rPr lang="en-US" altLang="ko-KR" sz="1100" b="1" dirty="0">
                <a:solidFill>
                  <a:schemeClr val="tx1"/>
                </a:solidFill>
                <a:latin typeface="Arial" panose="020B0604020202020204" pitchFamily="34" charset="0"/>
                <a:ea typeface="LG스마트체 Regular"/>
                <a:cs typeface="Arial" panose="020B0604020202020204" pitchFamily="34" charset="0"/>
              </a:rPr>
              <a:t>oise in department store</a:t>
            </a:r>
            <a:endParaRPr lang="ko-KR" altLang="en-US" sz="1100" b="1" dirty="0">
              <a:solidFill>
                <a:schemeClr val="tx1"/>
              </a:solidFill>
              <a:latin typeface="Arial" panose="020B0604020202020204" pitchFamily="34" charset="0"/>
              <a:ea typeface="LG스마트체 Regular"/>
              <a:cs typeface="Arial" panose="020B0604020202020204" pitchFamily="34" charset="0"/>
            </a:endParaRPr>
          </a:p>
        </p:txBody>
      </p:sp>
      <p:grpSp>
        <p:nvGrpSpPr>
          <p:cNvPr id="115" name="그룹 114">
            <a:extLst>
              <a:ext uri="{FF2B5EF4-FFF2-40B4-BE49-F238E27FC236}">
                <a16:creationId xmlns:a16="http://schemas.microsoft.com/office/drawing/2014/main" id="{E3D1CB9A-A014-43A3-9E1F-43D8D81012EE}"/>
              </a:ext>
            </a:extLst>
          </p:cNvPr>
          <p:cNvGrpSpPr/>
          <p:nvPr/>
        </p:nvGrpSpPr>
        <p:grpSpPr>
          <a:xfrm>
            <a:off x="-23688" y="3220443"/>
            <a:ext cx="1396872" cy="276999"/>
            <a:chOff x="11318" y="3088342"/>
            <a:chExt cx="1513721" cy="276999"/>
          </a:xfrm>
        </p:grpSpPr>
        <p:sp>
          <p:nvSpPr>
            <p:cNvPr id="116" name="사각형: 둥근 위쪽 모서리 115">
              <a:extLst>
                <a:ext uri="{FF2B5EF4-FFF2-40B4-BE49-F238E27FC236}">
                  <a16:creationId xmlns:a16="http://schemas.microsoft.com/office/drawing/2014/main" id="{EC71396E-AD00-4854-92DC-CF5635892755}"/>
                </a:ext>
              </a:extLst>
            </p:cNvPr>
            <p:cNvSpPr/>
            <p:nvPr/>
          </p:nvSpPr>
          <p:spPr>
            <a:xfrm rot="5400000">
              <a:off x="662962" y="2553856"/>
              <a:ext cx="216366" cy="1365400"/>
            </a:xfrm>
            <a:prstGeom prst="round2SameRect">
              <a:avLst>
                <a:gd name="adj1" fmla="val 37570"/>
                <a:gd name="adj2" fmla="val 50000"/>
              </a:avLst>
            </a:prstGeom>
            <a:solidFill>
              <a:srgbClr val="C715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00" spc="-80">
                <a:solidFill>
                  <a:prstClr val="white"/>
                </a:solidFill>
                <a:latin typeface="Arial" panose="020B0604020202020204" pitchFamily="34" charset="0"/>
                <a:ea typeface="LG스마트체 Regular" panose="020B0600000101010101" pitchFamily="50" charset="-127"/>
                <a:cs typeface="Arial" panose="020B0604020202020204" pitchFamily="34" charset="0"/>
              </a:endParaRPr>
            </a:p>
          </p:txBody>
        </p:sp>
        <p:sp>
          <p:nvSpPr>
            <p:cNvPr id="117" name="직사각형 116">
              <a:extLst>
                <a:ext uri="{FF2B5EF4-FFF2-40B4-BE49-F238E27FC236}">
                  <a16:creationId xmlns:a16="http://schemas.microsoft.com/office/drawing/2014/main" id="{DC3B5C6B-11EF-44FA-8EC2-1293B5D15469}"/>
                </a:ext>
              </a:extLst>
            </p:cNvPr>
            <p:cNvSpPr/>
            <p:nvPr/>
          </p:nvSpPr>
          <p:spPr>
            <a:xfrm>
              <a:off x="11318" y="3088342"/>
              <a:ext cx="1513721"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spc="-80" dirty="0">
                  <a:solidFill>
                    <a:prstClr val="white"/>
                  </a:solidFill>
                  <a:latin typeface="Arial" panose="020B0604020202020204" pitchFamily="34" charset="0"/>
                  <a:ea typeface="LG스마트체 Regular" panose="020B0600000101010101" pitchFamily="50" charset="-127"/>
                  <a:cs typeface="Arial" panose="020B0604020202020204" pitchFamily="34" charset="0"/>
                </a:rPr>
                <a:t>LG Residential ERV</a:t>
              </a:r>
              <a:endParaRPr lang="ko-KR" altLang="en-US" sz="1200" spc="-80" dirty="0">
                <a:solidFill>
                  <a:prstClr val="white"/>
                </a:solidFill>
                <a:latin typeface="Arial" panose="020B0604020202020204" pitchFamily="34" charset="0"/>
                <a:ea typeface="LG스마트체 Regular" panose="020B0600000101010101" pitchFamily="50" charset="-127"/>
                <a:cs typeface="Arial" panose="020B0604020202020204" pitchFamily="34" charset="0"/>
              </a:endParaRPr>
            </a:p>
          </p:txBody>
        </p:sp>
      </p:grpSp>
      <p:grpSp>
        <p:nvGrpSpPr>
          <p:cNvPr id="118" name="그룹 117">
            <a:extLst>
              <a:ext uri="{FF2B5EF4-FFF2-40B4-BE49-F238E27FC236}">
                <a16:creationId xmlns:a16="http://schemas.microsoft.com/office/drawing/2014/main" id="{44BDD607-8A3E-4BFB-9DB5-07A961A930BF}"/>
              </a:ext>
            </a:extLst>
          </p:cNvPr>
          <p:cNvGrpSpPr/>
          <p:nvPr/>
        </p:nvGrpSpPr>
        <p:grpSpPr>
          <a:xfrm>
            <a:off x="2038350" y="3076593"/>
            <a:ext cx="2156531" cy="1069976"/>
            <a:chOff x="2038350" y="3076593"/>
            <a:chExt cx="2156531" cy="1069976"/>
          </a:xfrm>
          <a:effectLst/>
        </p:grpSpPr>
        <p:cxnSp>
          <p:nvCxnSpPr>
            <p:cNvPr id="119" name="직선 연결선 118">
              <a:extLst>
                <a:ext uri="{FF2B5EF4-FFF2-40B4-BE49-F238E27FC236}">
                  <a16:creationId xmlns:a16="http://schemas.microsoft.com/office/drawing/2014/main" id="{9D9E53B1-B891-46DC-862D-FB7E65D294F2}"/>
                </a:ext>
              </a:extLst>
            </p:cNvPr>
            <p:cNvCxnSpPr>
              <a:cxnSpLocks/>
            </p:cNvCxnSpPr>
            <p:nvPr/>
          </p:nvCxnSpPr>
          <p:spPr>
            <a:xfrm flipH="1" flipV="1">
              <a:off x="2038350" y="4079081"/>
              <a:ext cx="311856" cy="674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직선 연결선 119">
              <a:extLst>
                <a:ext uri="{FF2B5EF4-FFF2-40B4-BE49-F238E27FC236}">
                  <a16:creationId xmlns:a16="http://schemas.microsoft.com/office/drawing/2014/main" id="{0FB4A726-92A0-42EB-AF60-DF04F7763926}"/>
                </a:ext>
              </a:extLst>
            </p:cNvPr>
            <p:cNvCxnSpPr>
              <a:cxnSpLocks/>
            </p:cNvCxnSpPr>
            <p:nvPr/>
          </p:nvCxnSpPr>
          <p:spPr>
            <a:xfrm flipH="1" flipV="1">
              <a:off x="2261275" y="3629065"/>
              <a:ext cx="260381" cy="1746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직선 연결선 120">
              <a:extLst>
                <a:ext uri="{FF2B5EF4-FFF2-40B4-BE49-F238E27FC236}">
                  <a16:creationId xmlns:a16="http://schemas.microsoft.com/office/drawing/2014/main" id="{B648755A-DC1A-4FDC-A05B-679A88AFE90F}"/>
                </a:ext>
              </a:extLst>
            </p:cNvPr>
            <p:cNvCxnSpPr>
              <a:cxnSpLocks/>
            </p:cNvCxnSpPr>
            <p:nvPr/>
          </p:nvCxnSpPr>
          <p:spPr>
            <a:xfrm flipH="1" flipV="1">
              <a:off x="2632323" y="3290888"/>
              <a:ext cx="184609" cy="2429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직선 연결선 121">
              <a:extLst>
                <a:ext uri="{FF2B5EF4-FFF2-40B4-BE49-F238E27FC236}">
                  <a16:creationId xmlns:a16="http://schemas.microsoft.com/office/drawing/2014/main" id="{615E4540-D189-44CB-B70D-AB652C2FDA74}"/>
                </a:ext>
              </a:extLst>
            </p:cNvPr>
            <p:cNvCxnSpPr>
              <a:cxnSpLocks/>
            </p:cNvCxnSpPr>
            <p:nvPr/>
          </p:nvCxnSpPr>
          <p:spPr>
            <a:xfrm flipH="1" flipV="1">
              <a:off x="3239206" y="3076593"/>
              <a:ext cx="50801" cy="3111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직선 연결선 122">
              <a:extLst>
                <a:ext uri="{FF2B5EF4-FFF2-40B4-BE49-F238E27FC236}">
                  <a16:creationId xmlns:a16="http://schemas.microsoft.com/office/drawing/2014/main" id="{B3CC7FA7-64CA-44CE-A828-04476B952874}"/>
                </a:ext>
              </a:extLst>
            </p:cNvPr>
            <p:cNvCxnSpPr>
              <a:cxnSpLocks/>
            </p:cNvCxnSpPr>
            <p:nvPr/>
          </p:nvCxnSpPr>
          <p:spPr>
            <a:xfrm flipV="1">
              <a:off x="4001208" y="3314718"/>
              <a:ext cx="193673" cy="2508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1" name="직사각형 80">
            <a:extLst>
              <a:ext uri="{FF2B5EF4-FFF2-40B4-BE49-F238E27FC236}">
                <a16:creationId xmlns:a16="http://schemas.microsoft.com/office/drawing/2014/main" id="{BEC332D6-3A56-4BC5-825A-7FC690115DBC}"/>
              </a:ext>
            </a:extLst>
          </p:cNvPr>
          <p:cNvSpPr/>
          <p:nvPr/>
        </p:nvSpPr>
        <p:spPr>
          <a:xfrm>
            <a:off x="-26211" y="3457411"/>
            <a:ext cx="1674119" cy="215444"/>
          </a:xfrm>
          <a:prstGeom prst="rect">
            <a:avLst/>
          </a:prstGeom>
        </p:spPr>
        <p:txBody>
          <a:bodyPr wrap="square">
            <a:spAutoFit/>
          </a:bodyPr>
          <a:lstStyle/>
          <a:p>
            <a:r>
              <a:rPr lang="en-US" altLang="ko-KR" sz="800" dirty="0">
                <a:ln>
                  <a:solidFill>
                    <a:srgbClr val="4472C4">
                      <a:alpha val="0"/>
                    </a:srgbClr>
                  </a:solidFill>
                </a:ln>
                <a:solidFill>
                  <a:schemeClr val="tx1">
                    <a:lumMod val="75000"/>
                    <a:lumOff val="25000"/>
                  </a:schemeClr>
                </a:solidFill>
                <a:latin typeface="Arial" panose="020B0604020202020204" pitchFamily="34" charset="0"/>
                <a:ea typeface="LG스마트체 Light" panose="020B0600000101010101" pitchFamily="50" charset="-127"/>
                <a:cs typeface="Arial" panose="020B0604020202020204" pitchFamily="34" charset="0"/>
              </a:rPr>
              <a:t>When Super High operation</a:t>
            </a:r>
            <a:endParaRPr lang="ko-KR" altLang="en-US" sz="800" dirty="0">
              <a:ln>
                <a:solidFill>
                  <a:srgbClr val="4472C4">
                    <a:alpha val="0"/>
                  </a:srgbClr>
                </a:solidFill>
              </a:ln>
              <a:solidFill>
                <a:schemeClr val="tx1">
                  <a:lumMod val="75000"/>
                  <a:lumOff val="25000"/>
                </a:schemeClr>
              </a:solidFill>
              <a:latin typeface="Arial" panose="020B0604020202020204" pitchFamily="34" charset="0"/>
              <a:ea typeface="LG스마트체 Light" panose="020B0600000101010101" pitchFamily="50" charset="-127"/>
              <a:cs typeface="Arial" panose="020B0604020202020204" pitchFamily="34" charset="0"/>
            </a:endParaRPr>
          </a:p>
        </p:txBody>
      </p:sp>
    </p:spTree>
    <p:extLst>
      <p:ext uri="{BB962C8B-B14F-4D97-AF65-F5344CB8AC3E}">
        <p14:creationId xmlns:p14="http://schemas.microsoft.com/office/powerpoint/2010/main" val="3173807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ltLang="ko-KR" dirty="0"/>
              <a:t>Convenience</a:t>
            </a:r>
          </a:p>
        </p:txBody>
      </p:sp>
      <p:sp>
        <p:nvSpPr>
          <p:cNvPr id="3" name="Text Placeholder 2"/>
          <p:cNvSpPr>
            <a:spLocks noGrp="1"/>
          </p:cNvSpPr>
          <p:nvPr>
            <p:ph type="body" sz="quarter" idx="13"/>
          </p:nvPr>
        </p:nvSpPr>
        <p:spPr>
          <a:xfrm>
            <a:off x="4883150" y="4234766"/>
            <a:ext cx="4464050" cy="1087477"/>
          </a:xfrm>
        </p:spPr>
        <p:txBody>
          <a:bodyPr/>
          <a:lstStyle/>
          <a:p>
            <a:pPr marL="0" indent="0">
              <a:buNone/>
            </a:pPr>
            <a:endParaRPr lang="en-US" altLang="ko-KR" dirty="0"/>
          </a:p>
          <a:p>
            <a:r>
              <a:rPr lang="en-US" altLang="ko-KR" dirty="0"/>
              <a:t>Easy Filter Maintenance</a:t>
            </a:r>
          </a:p>
          <a:p>
            <a:r>
              <a:rPr lang="en-US" altLang="ko-KR" dirty="0"/>
              <a:t>Convenient Design Program</a:t>
            </a:r>
          </a:p>
        </p:txBody>
      </p:sp>
    </p:spTree>
    <p:extLst>
      <p:ext uri="{BB962C8B-B14F-4D97-AF65-F5344CB8AC3E}">
        <p14:creationId xmlns:p14="http://schemas.microsoft.com/office/powerpoint/2010/main" val="17487395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이등변 삼각형 67">
            <a:extLst>
              <a:ext uri="{FF2B5EF4-FFF2-40B4-BE49-F238E27FC236}">
                <a16:creationId xmlns:a16="http://schemas.microsoft.com/office/drawing/2014/main" id="{C9109D2A-3031-47B8-B2D0-B3A535863650}"/>
              </a:ext>
            </a:extLst>
          </p:cNvPr>
          <p:cNvSpPr/>
          <p:nvPr/>
        </p:nvSpPr>
        <p:spPr>
          <a:xfrm rot="18318144">
            <a:off x="1710139" y="3753622"/>
            <a:ext cx="682164" cy="1044258"/>
          </a:xfrm>
          <a:prstGeom prst="triangle">
            <a:avLst>
              <a:gd name="adj" fmla="val 68690"/>
            </a:avLst>
          </a:prstGeom>
          <a:gradFill>
            <a:gsLst>
              <a:gs pos="1000">
                <a:schemeClr val="bg1">
                  <a:lumMod val="75000"/>
                  <a:alpha val="0"/>
                </a:schemeClr>
              </a:gs>
              <a:gs pos="100000">
                <a:schemeClr val="tx1">
                  <a:lumMod val="75000"/>
                  <a:lumOff val="2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panose="020B0604020202020204" pitchFamily="34" charset="0"/>
              <a:ea typeface="LG스마트체2.0 SemiBold" panose="020B0600000101010101" pitchFamily="50" charset="-127"/>
              <a:cs typeface="Arial" panose="020B0604020202020204" pitchFamily="34" charset="0"/>
            </a:endParaRPr>
          </a:p>
        </p:txBody>
      </p:sp>
      <p:grpSp>
        <p:nvGrpSpPr>
          <p:cNvPr id="4" name="그룹 3"/>
          <p:cNvGrpSpPr/>
          <p:nvPr/>
        </p:nvGrpSpPr>
        <p:grpSpPr>
          <a:xfrm>
            <a:off x="6244632" y="2571334"/>
            <a:ext cx="1825312" cy="1491790"/>
            <a:chOff x="10305190" y="3317205"/>
            <a:chExt cx="3171305" cy="2249923"/>
          </a:xfrm>
        </p:grpSpPr>
        <p:pic>
          <p:nvPicPr>
            <p:cNvPr id="56" name="그림 55"/>
            <p:cNvPicPr>
              <a:picLocks noChangeAspect="1"/>
            </p:cNvPicPr>
            <p:nvPr/>
          </p:nvPicPr>
          <p:blipFill>
            <a:blip r:embed="rId3"/>
            <a:stretch>
              <a:fillRect/>
            </a:stretch>
          </p:blipFill>
          <p:spPr>
            <a:xfrm flipH="1">
              <a:off x="11107206" y="3317205"/>
              <a:ext cx="2369289" cy="2178051"/>
            </a:xfrm>
            <a:prstGeom prst="rect">
              <a:avLst/>
            </a:prstGeom>
          </p:spPr>
        </p:pic>
        <p:cxnSp>
          <p:nvCxnSpPr>
            <p:cNvPr id="57" name="직선 연결선 56"/>
            <p:cNvCxnSpPr/>
            <p:nvPr/>
          </p:nvCxnSpPr>
          <p:spPr>
            <a:xfrm flipH="1">
              <a:off x="11496297" y="4478988"/>
              <a:ext cx="390929" cy="412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직선 연결선 58"/>
            <p:cNvCxnSpPr/>
            <p:nvPr/>
          </p:nvCxnSpPr>
          <p:spPr>
            <a:xfrm flipH="1">
              <a:off x="12165658" y="4871638"/>
              <a:ext cx="195464" cy="5145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직선 연결선 63"/>
            <p:cNvCxnSpPr/>
            <p:nvPr/>
          </p:nvCxnSpPr>
          <p:spPr>
            <a:xfrm flipH="1">
              <a:off x="11699224" y="4606874"/>
              <a:ext cx="383235" cy="539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Text Box 41"/>
            <p:cNvSpPr txBox="1">
              <a:spLocks noChangeArrowheads="1"/>
            </p:cNvSpPr>
            <p:nvPr/>
          </p:nvSpPr>
          <p:spPr bwMode="auto">
            <a:xfrm flipH="1">
              <a:off x="11580725" y="5404661"/>
              <a:ext cx="1097779" cy="16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spcBef>
                  <a:spcPct val="20000"/>
                </a:spcBef>
              </a:pPr>
              <a:r>
                <a:rPr kumimoji="0" lang="en-US" altLang="ko-KR" sz="700" b="1" dirty="0">
                  <a:solidFill>
                    <a:srgbClr val="000000"/>
                  </a:solidFill>
                  <a:latin typeface="Arial Narrow" panose="020B0606020202030204" pitchFamily="34" charset="0"/>
                  <a:ea typeface="LG스마트체 Regular" panose="020B0600000101010101" pitchFamily="50" charset="-127"/>
                  <a:cs typeface="Arial" panose="020B0604020202020204" pitchFamily="34" charset="0"/>
                </a:rPr>
                <a:t>Pre Filter (OA)</a:t>
              </a:r>
            </a:p>
          </p:txBody>
        </p:sp>
        <p:sp>
          <p:nvSpPr>
            <p:cNvPr id="66" name="Text Box 41"/>
            <p:cNvSpPr txBox="1">
              <a:spLocks noChangeArrowheads="1"/>
            </p:cNvSpPr>
            <p:nvPr/>
          </p:nvSpPr>
          <p:spPr bwMode="auto">
            <a:xfrm flipH="1">
              <a:off x="10305190" y="4871640"/>
              <a:ext cx="1239994" cy="16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spcBef>
                  <a:spcPct val="20000"/>
                </a:spcBef>
              </a:pPr>
              <a:r>
                <a:rPr kumimoji="0" lang="en-US" altLang="ko-KR" sz="700" b="1" dirty="0">
                  <a:solidFill>
                    <a:srgbClr val="000000"/>
                  </a:solidFill>
                  <a:latin typeface="Arial Narrow" panose="020B0606020202030204" pitchFamily="34" charset="0"/>
                  <a:ea typeface="LG스마트체 Regular" panose="020B0600000101010101" pitchFamily="50" charset="-127"/>
                  <a:cs typeface="Arial" panose="020B0604020202020204" pitchFamily="34" charset="0"/>
                </a:rPr>
                <a:t>Pre Filter (RA)</a:t>
              </a:r>
            </a:p>
          </p:txBody>
        </p:sp>
        <p:sp>
          <p:nvSpPr>
            <p:cNvPr id="67" name="Text Box 41"/>
            <p:cNvSpPr txBox="1">
              <a:spLocks noChangeArrowheads="1"/>
            </p:cNvSpPr>
            <p:nvPr/>
          </p:nvSpPr>
          <p:spPr bwMode="auto">
            <a:xfrm flipH="1">
              <a:off x="10789771" y="5179422"/>
              <a:ext cx="1375885" cy="16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spcBef>
                  <a:spcPct val="20000"/>
                </a:spcBef>
              </a:pPr>
              <a:r>
                <a:rPr kumimoji="0" lang="en-US" altLang="ko-KR" sz="700" b="1" dirty="0">
                  <a:solidFill>
                    <a:srgbClr val="000000"/>
                  </a:solidFill>
                  <a:latin typeface="Arial Narrow" panose="020B0606020202030204" pitchFamily="34" charset="0"/>
                  <a:ea typeface="LG스마트체 Regular" panose="020B0600000101010101" pitchFamily="50" charset="-127"/>
                  <a:cs typeface="Arial" panose="020B0604020202020204" pitchFamily="34" charset="0"/>
                </a:rPr>
                <a:t>Fine Dust Filter (OA)</a:t>
              </a:r>
            </a:p>
          </p:txBody>
        </p:sp>
      </p:grpSp>
      <p:sp>
        <p:nvSpPr>
          <p:cNvPr id="2" name="텍스트 개체 틀 1"/>
          <p:cNvSpPr>
            <a:spLocks noGrp="1"/>
          </p:cNvSpPr>
          <p:nvPr>
            <p:ph type="body" sz="quarter" idx="19"/>
          </p:nvPr>
        </p:nvSpPr>
        <p:spPr/>
        <p:txBody>
          <a:bodyPr/>
          <a:lstStyle/>
          <a:p>
            <a:r>
              <a:rPr lang="en-US" altLang="ko-KR" dirty="0"/>
              <a:t>Easy Filter Maintenance</a:t>
            </a:r>
          </a:p>
        </p:txBody>
      </p:sp>
      <p:sp>
        <p:nvSpPr>
          <p:cNvPr id="6" name="텍스트 개체 틀 5"/>
          <p:cNvSpPr>
            <a:spLocks noGrp="1"/>
          </p:cNvSpPr>
          <p:nvPr>
            <p:ph type="body" sz="quarter" idx="20"/>
          </p:nvPr>
        </p:nvSpPr>
        <p:spPr/>
        <p:txBody>
          <a:bodyPr/>
          <a:lstStyle/>
          <a:p>
            <a:r>
              <a:rPr lang="en-US" altLang="ko-KR" dirty="0"/>
              <a:t>Convenience</a:t>
            </a:r>
          </a:p>
        </p:txBody>
      </p:sp>
      <p:sp>
        <p:nvSpPr>
          <p:cNvPr id="3" name="텍스트 개체 틀 2"/>
          <p:cNvSpPr>
            <a:spLocks noGrp="1"/>
          </p:cNvSpPr>
          <p:nvPr>
            <p:ph type="body" sz="quarter" idx="21"/>
          </p:nvPr>
        </p:nvSpPr>
        <p:spPr>
          <a:xfrm>
            <a:off x="278422" y="748127"/>
            <a:ext cx="9342438" cy="492443"/>
          </a:xfrm>
        </p:spPr>
        <p:txBody>
          <a:bodyPr/>
          <a:lstStyle/>
          <a:p>
            <a:r>
              <a:rPr lang="en-US" altLang="ko-KR" dirty="0"/>
              <a:t>The cover can be opened by pressing the one-touch buttons located on both sides without a separate tool, and the filter comes out easily by holding the filter handle and pulling it down.</a:t>
            </a:r>
          </a:p>
        </p:txBody>
      </p:sp>
      <p:pic>
        <p:nvPicPr>
          <p:cNvPr id="45" name="그림 44" descr="텍스트이(가) 표시된 사진&#10;&#10;자동 생성된 설명">
            <a:extLst>
              <a:ext uri="{FF2B5EF4-FFF2-40B4-BE49-F238E27FC236}">
                <a16:creationId xmlns:a16="http://schemas.microsoft.com/office/drawing/2014/main" id="{A9B25238-4F21-4E4B-A0F3-02C9E3FE17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4064967" y="2580647"/>
            <a:ext cx="1913960" cy="2298667"/>
          </a:xfrm>
          <a:prstGeom prst="rect">
            <a:avLst/>
          </a:prstGeom>
        </p:spPr>
      </p:pic>
      <p:sp>
        <p:nvSpPr>
          <p:cNvPr id="62" name="그래픽 39" descr="시계 반대 방향으로 굽은 사선 화살표 단색으로 채워진">
            <a:extLst>
              <a:ext uri="{FF2B5EF4-FFF2-40B4-BE49-F238E27FC236}">
                <a16:creationId xmlns:a16="http://schemas.microsoft.com/office/drawing/2014/main" id="{53964864-F8F7-4609-9872-F919D86511FA}"/>
              </a:ext>
            </a:extLst>
          </p:cNvPr>
          <p:cNvSpPr/>
          <p:nvPr/>
        </p:nvSpPr>
        <p:spPr>
          <a:xfrm rot="9000000">
            <a:off x="4674559" y="3613354"/>
            <a:ext cx="460511" cy="1210046"/>
          </a:xfrm>
          <a:custGeom>
            <a:avLst/>
            <a:gdLst>
              <a:gd name="connsiteX0" fmla="*/ 105576 w 363188"/>
              <a:gd name="connsiteY0" fmla="*/ 44734 h 643956"/>
              <a:gd name="connsiteX1" fmla="*/ 244936 w 363188"/>
              <a:gd name="connsiteY1" fmla="*/ 45467 h 643956"/>
              <a:gd name="connsiteX2" fmla="*/ 276609 w 363188"/>
              <a:gd name="connsiteY2" fmla="*/ 23467 h 643956"/>
              <a:gd name="connsiteX3" fmla="*/ 244936 w 363188"/>
              <a:gd name="connsiteY3" fmla="*/ 1467 h 643956"/>
              <a:gd name="connsiteX4" fmla="*/ 33784 w 363188"/>
              <a:gd name="connsiteY4" fmla="*/ 0 h 643956"/>
              <a:gd name="connsiteX5" fmla="*/ 13725 w 363188"/>
              <a:gd name="connsiteY5" fmla="*/ 5133 h 643956"/>
              <a:gd name="connsiteX6" fmla="*/ 11613 w 363188"/>
              <a:gd name="connsiteY6" fmla="*/ 6600 h 643956"/>
              <a:gd name="connsiteX7" fmla="*/ 8446 w 363188"/>
              <a:gd name="connsiteY7" fmla="*/ 8800 h 643956"/>
              <a:gd name="connsiteX8" fmla="*/ 7390 w 363188"/>
              <a:gd name="connsiteY8" fmla="*/ 10267 h 643956"/>
              <a:gd name="connsiteX9" fmla="*/ 6335 w 363188"/>
              <a:gd name="connsiteY9" fmla="*/ 11733 h 643956"/>
              <a:gd name="connsiteX10" fmla="*/ 2112 w 363188"/>
              <a:gd name="connsiteY10" fmla="*/ 22000 h 643956"/>
              <a:gd name="connsiteX11" fmla="*/ 0 w 363188"/>
              <a:gd name="connsiteY11" fmla="*/ 168668 h 643956"/>
              <a:gd name="connsiteX12" fmla="*/ 31673 w 363188"/>
              <a:gd name="connsiteY12" fmla="*/ 190669 h 643956"/>
              <a:gd name="connsiteX13" fmla="*/ 63346 w 363188"/>
              <a:gd name="connsiteY13" fmla="*/ 168668 h 643956"/>
              <a:gd name="connsiteX14" fmla="*/ 64401 w 363188"/>
              <a:gd name="connsiteY14" fmla="*/ 77734 h 643956"/>
              <a:gd name="connsiteX15" fmla="*/ 298780 w 363188"/>
              <a:gd name="connsiteY15" fmla="*/ 411404 h 643956"/>
              <a:gd name="connsiteX16" fmla="*/ 225933 w 363188"/>
              <a:gd name="connsiteY16" fmla="*/ 613073 h 643956"/>
              <a:gd name="connsiteX17" fmla="*/ 240713 w 363188"/>
              <a:gd name="connsiteY17" fmla="*/ 641673 h 643956"/>
              <a:gd name="connsiteX18" fmla="*/ 282944 w 363188"/>
              <a:gd name="connsiteY18" fmla="*/ 632140 h 643956"/>
              <a:gd name="connsiteX19" fmla="*/ 362126 w 363188"/>
              <a:gd name="connsiteY19" fmla="*/ 414337 h 643956"/>
              <a:gd name="connsiteX20" fmla="*/ 105576 w 363188"/>
              <a:gd name="connsiteY20" fmla="*/ 44734 h 64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3188" h="643956">
                <a:moveTo>
                  <a:pt x="105576" y="44734"/>
                </a:moveTo>
                <a:lnTo>
                  <a:pt x="244936" y="45467"/>
                </a:lnTo>
                <a:cubicBezTo>
                  <a:pt x="262884" y="45467"/>
                  <a:pt x="276609" y="35934"/>
                  <a:pt x="276609" y="23467"/>
                </a:cubicBezTo>
                <a:cubicBezTo>
                  <a:pt x="276609" y="11000"/>
                  <a:pt x="262884" y="1467"/>
                  <a:pt x="244936" y="1467"/>
                </a:cubicBezTo>
                <a:lnTo>
                  <a:pt x="33784" y="0"/>
                </a:lnTo>
                <a:cubicBezTo>
                  <a:pt x="26394" y="0"/>
                  <a:pt x="20059" y="1467"/>
                  <a:pt x="13725" y="5133"/>
                </a:cubicBezTo>
                <a:cubicBezTo>
                  <a:pt x="12669" y="5133"/>
                  <a:pt x="12669" y="5867"/>
                  <a:pt x="11613" y="6600"/>
                </a:cubicBezTo>
                <a:cubicBezTo>
                  <a:pt x="10558" y="7333"/>
                  <a:pt x="9502" y="7333"/>
                  <a:pt x="8446" y="8800"/>
                </a:cubicBezTo>
                <a:cubicBezTo>
                  <a:pt x="8446" y="8800"/>
                  <a:pt x="7390" y="9533"/>
                  <a:pt x="7390" y="10267"/>
                </a:cubicBezTo>
                <a:cubicBezTo>
                  <a:pt x="7390" y="10267"/>
                  <a:pt x="6335" y="11000"/>
                  <a:pt x="6335" y="11733"/>
                </a:cubicBezTo>
                <a:cubicBezTo>
                  <a:pt x="3167" y="14667"/>
                  <a:pt x="2112" y="18334"/>
                  <a:pt x="2112" y="22000"/>
                </a:cubicBezTo>
                <a:lnTo>
                  <a:pt x="0" y="168668"/>
                </a:lnTo>
                <a:cubicBezTo>
                  <a:pt x="0" y="181135"/>
                  <a:pt x="13725" y="190669"/>
                  <a:pt x="31673" y="190669"/>
                </a:cubicBezTo>
                <a:cubicBezTo>
                  <a:pt x="49621" y="190669"/>
                  <a:pt x="63346" y="181135"/>
                  <a:pt x="63346" y="168668"/>
                </a:cubicBezTo>
                <a:lnTo>
                  <a:pt x="64401" y="77734"/>
                </a:lnTo>
                <a:cubicBezTo>
                  <a:pt x="230156" y="157668"/>
                  <a:pt x="309338" y="269869"/>
                  <a:pt x="298780" y="411404"/>
                </a:cubicBezTo>
                <a:cubicBezTo>
                  <a:pt x="292446" y="481071"/>
                  <a:pt x="268163" y="549272"/>
                  <a:pt x="225933" y="613073"/>
                </a:cubicBezTo>
                <a:cubicBezTo>
                  <a:pt x="218542" y="624073"/>
                  <a:pt x="224877" y="636540"/>
                  <a:pt x="240713" y="641673"/>
                </a:cubicBezTo>
                <a:cubicBezTo>
                  <a:pt x="255494" y="646806"/>
                  <a:pt x="274498" y="643140"/>
                  <a:pt x="282944" y="632140"/>
                </a:cubicBezTo>
                <a:cubicBezTo>
                  <a:pt x="328342" y="563939"/>
                  <a:pt x="355791" y="489872"/>
                  <a:pt x="362126" y="414337"/>
                </a:cubicBezTo>
                <a:cubicBezTo>
                  <a:pt x="370572" y="306536"/>
                  <a:pt x="332565" y="155468"/>
                  <a:pt x="105576" y="44734"/>
                </a:cubicBezTo>
                <a:close/>
              </a:path>
            </a:pathLst>
          </a:custGeom>
          <a:solidFill>
            <a:schemeClr val="bg1">
              <a:lumMod val="75000"/>
            </a:schemeClr>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82" name="직사각형 81">
            <a:extLst>
              <a:ext uri="{FF2B5EF4-FFF2-40B4-BE49-F238E27FC236}">
                <a16:creationId xmlns:a16="http://schemas.microsoft.com/office/drawing/2014/main" id="{F32C9D62-EC94-42AF-BA0A-E308499B4667}"/>
              </a:ext>
            </a:extLst>
          </p:cNvPr>
          <p:cNvSpPr/>
          <p:nvPr/>
        </p:nvSpPr>
        <p:spPr>
          <a:xfrm rot="5400000">
            <a:off x="2014740" y="4627204"/>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83" name="직사각형 82">
            <a:extLst>
              <a:ext uri="{FF2B5EF4-FFF2-40B4-BE49-F238E27FC236}">
                <a16:creationId xmlns:a16="http://schemas.microsoft.com/office/drawing/2014/main" id="{E1ADF93C-8A0A-4FD1-84A8-03ADCE88B69C}"/>
              </a:ext>
            </a:extLst>
          </p:cNvPr>
          <p:cNvSpPr/>
          <p:nvPr/>
        </p:nvSpPr>
        <p:spPr>
          <a:xfrm rot="5400000">
            <a:off x="4935740" y="4627204"/>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84" name="직사각형 83">
            <a:extLst>
              <a:ext uri="{FF2B5EF4-FFF2-40B4-BE49-F238E27FC236}">
                <a16:creationId xmlns:a16="http://schemas.microsoft.com/office/drawing/2014/main" id="{868F5C70-8B6D-4013-907D-726E62382BAB}"/>
              </a:ext>
            </a:extLst>
          </p:cNvPr>
          <p:cNvSpPr/>
          <p:nvPr/>
        </p:nvSpPr>
        <p:spPr>
          <a:xfrm rot="5400000">
            <a:off x="7856740" y="4627204"/>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85" name="직사각형 84">
            <a:extLst>
              <a:ext uri="{FF2B5EF4-FFF2-40B4-BE49-F238E27FC236}">
                <a16:creationId xmlns:a16="http://schemas.microsoft.com/office/drawing/2014/main" id="{6403A4FF-35E8-4203-AACA-2904ED02B688}"/>
              </a:ext>
            </a:extLst>
          </p:cNvPr>
          <p:cNvSpPr/>
          <p:nvPr/>
        </p:nvSpPr>
        <p:spPr>
          <a:xfrm rot="5400000">
            <a:off x="2014740" y="832443"/>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nvGrpSpPr>
          <p:cNvPr id="86" name="그룹 85">
            <a:extLst>
              <a:ext uri="{FF2B5EF4-FFF2-40B4-BE49-F238E27FC236}">
                <a16:creationId xmlns:a16="http://schemas.microsoft.com/office/drawing/2014/main" id="{00A13CAD-009E-4F17-B110-966F56FEEC9D}"/>
              </a:ext>
            </a:extLst>
          </p:cNvPr>
          <p:cNvGrpSpPr/>
          <p:nvPr/>
        </p:nvGrpSpPr>
        <p:grpSpPr>
          <a:xfrm>
            <a:off x="1808253" y="1946595"/>
            <a:ext cx="451612" cy="451612"/>
            <a:chOff x="1627460" y="5149850"/>
            <a:chExt cx="451612" cy="451612"/>
          </a:xfrm>
        </p:grpSpPr>
        <p:sp>
          <p:nvSpPr>
            <p:cNvPr id="87" name="타원 86">
              <a:extLst>
                <a:ext uri="{FF2B5EF4-FFF2-40B4-BE49-F238E27FC236}">
                  <a16:creationId xmlns:a16="http://schemas.microsoft.com/office/drawing/2014/main" id="{A6BAFEB4-660C-47BA-9C9D-B027874658DA}"/>
                </a:ext>
              </a:extLst>
            </p:cNvPr>
            <p:cNvSpPr/>
            <p:nvPr/>
          </p:nvSpPr>
          <p:spPr>
            <a:xfrm>
              <a:off x="1627460" y="5149850"/>
              <a:ext cx="451612" cy="451612"/>
            </a:xfrm>
            <a:prstGeom prst="ellipse">
              <a:avLst/>
            </a:prstGeom>
            <a:solidFill>
              <a:schemeClr val="bg1"/>
            </a:solidFill>
            <a:ln w="38100">
              <a:gradFill>
                <a:gsLst>
                  <a:gs pos="0">
                    <a:srgbClr val="C30037"/>
                  </a:gs>
                  <a:gs pos="100000">
                    <a:srgbClr val="F92763"/>
                  </a:gs>
                </a:gsLst>
                <a:lin ang="5400000" scaled="1"/>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88" name="TextBox 2">
              <a:extLst>
                <a:ext uri="{FF2B5EF4-FFF2-40B4-BE49-F238E27FC236}">
                  <a16:creationId xmlns:a16="http://schemas.microsoft.com/office/drawing/2014/main" id="{7AB6EE86-928C-4D09-82BC-C58A8C3E7346}"/>
                </a:ext>
              </a:extLst>
            </p:cNvPr>
            <p:cNvSpPr txBox="1"/>
            <p:nvPr/>
          </p:nvSpPr>
          <p:spPr>
            <a:xfrm>
              <a:off x="1636984" y="5190388"/>
              <a:ext cx="44114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b="0" i="0" u="none" strike="noStrike" kern="1200" cap="none" spc="0" normalizeH="0" baseline="0" noProof="0" dirty="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rPr>
                <a:t>01</a:t>
              </a:r>
              <a:endParaRPr kumimoji="0" lang="ko-KR" altLang="en-US" b="0" i="0" u="none" strike="noStrike" kern="1200" cap="none" spc="0" normalizeH="0" baseline="0" noProof="0" dirty="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endParaRPr>
            </a:p>
          </p:txBody>
        </p:sp>
      </p:grpSp>
      <p:sp>
        <p:nvSpPr>
          <p:cNvPr id="89" name="직사각형 88">
            <a:extLst>
              <a:ext uri="{FF2B5EF4-FFF2-40B4-BE49-F238E27FC236}">
                <a16:creationId xmlns:a16="http://schemas.microsoft.com/office/drawing/2014/main" id="{A474357F-007C-4A56-8CFD-390511A119D4}"/>
              </a:ext>
            </a:extLst>
          </p:cNvPr>
          <p:cNvSpPr/>
          <p:nvPr/>
        </p:nvSpPr>
        <p:spPr>
          <a:xfrm rot="5400000">
            <a:off x="4935740" y="832444"/>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90" name="직사각형 89">
            <a:extLst>
              <a:ext uri="{FF2B5EF4-FFF2-40B4-BE49-F238E27FC236}">
                <a16:creationId xmlns:a16="http://schemas.microsoft.com/office/drawing/2014/main" id="{848A2D85-3191-4E5D-B82A-8CADEAFE0B04}"/>
              </a:ext>
            </a:extLst>
          </p:cNvPr>
          <p:cNvSpPr/>
          <p:nvPr/>
        </p:nvSpPr>
        <p:spPr>
          <a:xfrm rot="5400000">
            <a:off x="7856740" y="832445"/>
            <a:ext cx="45719" cy="27828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nvGrpSpPr>
          <p:cNvPr id="91" name="그룹 90">
            <a:extLst>
              <a:ext uri="{FF2B5EF4-FFF2-40B4-BE49-F238E27FC236}">
                <a16:creationId xmlns:a16="http://schemas.microsoft.com/office/drawing/2014/main" id="{B9EAA216-2EB4-43BB-8974-24FDEB4DF905}"/>
              </a:ext>
            </a:extLst>
          </p:cNvPr>
          <p:cNvGrpSpPr/>
          <p:nvPr/>
        </p:nvGrpSpPr>
        <p:grpSpPr>
          <a:xfrm>
            <a:off x="7650253" y="1946595"/>
            <a:ext cx="451612" cy="451612"/>
            <a:chOff x="1627460" y="5149850"/>
            <a:chExt cx="451612" cy="451612"/>
          </a:xfrm>
        </p:grpSpPr>
        <p:sp>
          <p:nvSpPr>
            <p:cNvPr id="92" name="타원 91">
              <a:extLst>
                <a:ext uri="{FF2B5EF4-FFF2-40B4-BE49-F238E27FC236}">
                  <a16:creationId xmlns:a16="http://schemas.microsoft.com/office/drawing/2014/main" id="{86D91667-F528-4918-8753-40504C3FCD6E}"/>
                </a:ext>
              </a:extLst>
            </p:cNvPr>
            <p:cNvSpPr/>
            <p:nvPr/>
          </p:nvSpPr>
          <p:spPr>
            <a:xfrm>
              <a:off x="1627460" y="5149850"/>
              <a:ext cx="451612" cy="451612"/>
            </a:xfrm>
            <a:prstGeom prst="ellipse">
              <a:avLst/>
            </a:prstGeom>
            <a:solidFill>
              <a:schemeClr val="bg1"/>
            </a:solidFill>
            <a:ln w="38100">
              <a:gradFill>
                <a:gsLst>
                  <a:gs pos="0">
                    <a:srgbClr val="C30037"/>
                  </a:gs>
                  <a:gs pos="100000">
                    <a:srgbClr val="F92763"/>
                  </a:gs>
                </a:gsLst>
                <a:lin ang="5400000" scaled="1"/>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93" name="TextBox 2">
              <a:extLst>
                <a:ext uri="{FF2B5EF4-FFF2-40B4-BE49-F238E27FC236}">
                  <a16:creationId xmlns:a16="http://schemas.microsoft.com/office/drawing/2014/main" id="{2F0EF120-D292-4E5F-AA18-15FF1C4AF95A}"/>
                </a:ext>
              </a:extLst>
            </p:cNvPr>
            <p:cNvSpPr txBox="1"/>
            <p:nvPr/>
          </p:nvSpPr>
          <p:spPr>
            <a:xfrm>
              <a:off x="1636984" y="5190388"/>
              <a:ext cx="44114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b="0" i="0" u="none" strike="noStrike" kern="1200" cap="none" spc="0" normalizeH="0" baseline="0" noProof="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rPr>
                <a:t>03</a:t>
              </a:r>
              <a:endParaRPr kumimoji="0" lang="ko-KR" altLang="en-US" b="0" i="0" u="none" strike="noStrike" kern="1200" cap="none" spc="0" normalizeH="0" baseline="0" noProof="0" dirty="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endParaRPr>
            </a:p>
          </p:txBody>
        </p:sp>
      </p:grpSp>
      <p:grpSp>
        <p:nvGrpSpPr>
          <p:cNvPr id="94" name="그룹 93">
            <a:extLst>
              <a:ext uri="{FF2B5EF4-FFF2-40B4-BE49-F238E27FC236}">
                <a16:creationId xmlns:a16="http://schemas.microsoft.com/office/drawing/2014/main" id="{53E51626-43A4-42A1-8F5D-C18C4E268C50}"/>
              </a:ext>
            </a:extLst>
          </p:cNvPr>
          <p:cNvGrpSpPr/>
          <p:nvPr/>
        </p:nvGrpSpPr>
        <p:grpSpPr>
          <a:xfrm>
            <a:off x="4728502" y="1946595"/>
            <a:ext cx="451612" cy="451612"/>
            <a:chOff x="1627460" y="5149850"/>
            <a:chExt cx="451612" cy="451612"/>
          </a:xfrm>
        </p:grpSpPr>
        <p:sp>
          <p:nvSpPr>
            <p:cNvPr id="95" name="타원 94">
              <a:extLst>
                <a:ext uri="{FF2B5EF4-FFF2-40B4-BE49-F238E27FC236}">
                  <a16:creationId xmlns:a16="http://schemas.microsoft.com/office/drawing/2014/main" id="{1F678C41-1EFE-42EE-9C3E-38EFF5D965A1}"/>
                </a:ext>
              </a:extLst>
            </p:cNvPr>
            <p:cNvSpPr/>
            <p:nvPr/>
          </p:nvSpPr>
          <p:spPr>
            <a:xfrm>
              <a:off x="1627460" y="5149850"/>
              <a:ext cx="451612" cy="451612"/>
            </a:xfrm>
            <a:prstGeom prst="ellipse">
              <a:avLst/>
            </a:prstGeom>
            <a:solidFill>
              <a:schemeClr val="bg1"/>
            </a:solidFill>
            <a:ln w="38100">
              <a:gradFill>
                <a:gsLst>
                  <a:gs pos="0">
                    <a:srgbClr val="C30037"/>
                  </a:gs>
                  <a:gs pos="100000">
                    <a:srgbClr val="F92763"/>
                  </a:gs>
                </a:gsLst>
                <a:lin ang="5400000" scaled="1"/>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96" name="TextBox 2">
              <a:extLst>
                <a:ext uri="{FF2B5EF4-FFF2-40B4-BE49-F238E27FC236}">
                  <a16:creationId xmlns:a16="http://schemas.microsoft.com/office/drawing/2014/main" id="{E50301B1-A1F2-491A-9BB1-EAEEEAF88BF3}"/>
                </a:ext>
              </a:extLst>
            </p:cNvPr>
            <p:cNvSpPr txBox="1"/>
            <p:nvPr/>
          </p:nvSpPr>
          <p:spPr>
            <a:xfrm>
              <a:off x="1636984" y="5190388"/>
              <a:ext cx="44114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b="0" i="0" u="none" strike="noStrike" kern="1200" cap="none" spc="0" normalizeH="0" baseline="0" noProof="0" dirty="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rPr>
                <a:t>02</a:t>
              </a:r>
              <a:endParaRPr kumimoji="0" lang="ko-KR" altLang="en-US" b="0" i="0" u="none" strike="noStrike" kern="1200" cap="none" spc="0" normalizeH="0" baseline="0" noProof="0" dirty="0">
                <a:ln>
                  <a:solidFill>
                    <a:srgbClr val="4472C4">
                      <a:alpha val="0"/>
                    </a:srgbClr>
                  </a:solidFill>
                </a:ln>
                <a:effectLst/>
                <a:uLnTx/>
                <a:uFillTx/>
                <a:latin typeface="Arial" panose="020B0604020202020204" pitchFamily="34" charset="0"/>
                <a:ea typeface="LG스마트체 Bold" panose="020B0600000101010101" pitchFamily="50" charset="-127"/>
                <a:cs typeface="Arial" panose="020B0604020202020204" pitchFamily="34" charset="0"/>
              </a:endParaRPr>
            </a:p>
          </p:txBody>
        </p:sp>
      </p:grpSp>
      <p:grpSp>
        <p:nvGrpSpPr>
          <p:cNvPr id="100" name="그룹 99">
            <a:extLst>
              <a:ext uri="{FF2B5EF4-FFF2-40B4-BE49-F238E27FC236}">
                <a16:creationId xmlns:a16="http://schemas.microsoft.com/office/drawing/2014/main" id="{FABCFE30-C5A3-4218-B4A2-D2D016595160}"/>
              </a:ext>
            </a:extLst>
          </p:cNvPr>
          <p:cNvGrpSpPr/>
          <p:nvPr/>
        </p:nvGrpSpPr>
        <p:grpSpPr>
          <a:xfrm>
            <a:off x="6488200" y="5049318"/>
            <a:ext cx="2360824" cy="795174"/>
            <a:chOff x="3834646" y="4215738"/>
            <a:chExt cx="1971795" cy="795174"/>
          </a:xfrm>
        </p:grpSpPr>
        <p:sp>
          <p:nvSpPr>
            <p:cNvPr id="101" name="사각형: 둥근 모서리 60">
              <a:extLst>
                <a:ext uri="{FF2B5EF4-FFF2-40B4-BE49-F238E27FC236}">
                  <a16:creationId xmlns:a16="http://schemas.microsoft.com/office/drawing/2014/main" id="{1D780A77-377F-450B-AAD0-C1CAF003895F}"/>
                </a:ext>
              </a:extLst>
            </p:cNvPr>
            <p:cNvSpPr/>
            <p:nvPr/>
          </p:nvSpPr>
          <p:spPr>
            <a:xfrm>
              <a:off x="3834646" y="4215738"/>
              <a:ext cx="1971794" cy="79517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sp>
          <p:nvSpPr>
            <p:cNvPr id="102" name="TextBox 2">
              <a:extLst>
                <a:ext uri="{FF2B5EF4-FFF2-40B4-BE49-F238E27FC236}">
                  <a16:creationId xmlns:a16="http://schemas.microsoft.com/office/drawing/2014/main" id="{C7406E85-439B-445D-B60B-7D03A1F03BD0}"/>
                </a:ext>
              </a:extLst>
            </p:cNvPr>
            <p:cNvSpPr txBox="1"/>
            <p:nvPr/>
          </p:nvSpPr>
          <p:spPr>
            <a:xfrm>
              <a:off x="3916943" y="4228304"/>
              <a:ext cx="1889498" cy="738664"/>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50" normalizeH="0">
                  <a:ln>
                    <a:solidFill>
                      <a:srgbClr val="4472C4">
                        <a:alpha val="0"/>
                      </a:srgbClr>
                    </a:solidFill>
                  </a:ln>
                  <a:effectLst/>
                  <a:uLnTx/>
                  <a:uFillTx/>
                  <a:latin typeface="LG스마트체 SemiBold" panose="020B0600000101010101" pitchFamily="50" charset="-127"/>
                  <a:ea typeface="LG스마트체 SemiBold" panose="020B0600000101010101" pitchFamily="50" charset="-127"/>
                </a:defRPr>
              </a:lvl1pPr>
            </a:lstStyle>
            <a:p>
              <a:pPr algn="l"/>
              <a:r>
                <a:rPr lang="en-US" altLang="ko-KR" dirty="0">
                  <a:latin typeface="Arial" panose="020B0604020202020204" pitchFamily="34" charset="0"/>
                  <a:cs typeface="Arial" panose="020B0604020202020204" pitchFamily="34" charset="0"/>
                </a:rPr>
                <a:t>Loose a screw, hold the filter or total heat exchanger handle and pull it out down.</a:t>
              </a:r>
            </a:p>
          </p:txBody>
        </p:sp>
      </p:grpSp>
      <p:pic>
        <p:nvPicPr>
          <p:cNvPr id="104" name="그림 103">
            <a:extLst>
              <a:ext uri="{FF2B5EF4-FFF2-40B4-BE49-F238E27FC236}">
                <a16:creationId xmlns:a16="http://schemas.microsoft.com/office/drawing/2014/main" id="{90F3FBAE-6C29-4579-BF3A-1F6AA091FF5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flipH="1">
            <a:off x="1074340" y="2421810"/>
            <a:ext cx="1962644" cy="1962644"/>
          </a:xfrm>
          <a:prstGeom prst="rect">
            <a:avLst/>
          </a:prstGeom>
        </p:spPr>
      </p:pic>
      <p:sp>
        <p:nvSpPr>
          <p:cNvPr id="105" name="타원 104"/>
          <p:cNvSpPr/>
          <p:nvPr/>
        </p:nvSpPr>
        <p:spPr>
          <a:xfrm>
            <a:off x="1249960" y="3637641"/>
            <a:ext cx="293268" cy="236011"/>
          </a:xfrm>
          <a:prstGeom prst="ellipse">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sp>
        <p:nvSpPr>
          <p:cNvPr id="106" name="타원 105"/>
          <p:cNvSpPr/>
          <p:nvPr/>
        </p:nvSpPr>
        <p:spPr>
          <a:xfrm>
            <a:off x="1980082" y="3393833"/>
            <a:ext cx="293268" cy="236011"/>
          </a:xfrm>
          <a:prstGeom prst="ellipse">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cxnSp>
        <p:nvCxnSpPr>
          <p:cNvPr id="107" name="직선 화살표 연결선 106"/>
          <p:cNvCxnSpPr>
            <a:stCxn id="109" idx="3"/>
          </p:cNvCxnSpPr>
          <p:nvPr/>
        </p:nvCxnSpPr>
        <p:spPr>
          <a:xfrm flipV="1">
            <a:off x="837546" y="3838767"/>
            <a:ext cx="375484" cy="2657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직선 화살표 연결선 107"/>
          <p:cNvCxnSpPr>
            <a:stCxn id="109" idx="3"/>
            <a:endCxn id="106" idx="4"/>
          </p:cNvCxnSpPr>
          <p:nvPr/>
        </p:nvCxnSpPr>
        <p:spPr>
          <a:xfrm flipV="1">
            <a:off x="837546" y="3629844"/>
            <a:ext cx="1289170" cy="474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타원 109"/>
          <p:cNvSpPr/>
          <p:nvPr/>
        </p:nvSpPr>
        <p:spPr>
          <a:xfrm>
            <a:off x="4875313" y="3698427"/>
            <a:ext cx="392974" cy="192004"/>
          </a:xfrm>
          <a:prstGeom prst="ellipse">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sp>
        <p:nvSpPr>
          <p:cNvPr id="111" name="TextBox 110"/>
          <p:cNvSpPr txBox="1"/>
          <p:nvPr/>
        </p:nvSpPr>
        <p:spPr>
          <a:xfrm>
            <a:off x="5259666" y="2468650"/>
            <a:ext cx="973343" cy="276999"/>
          </a:xfrm>
          <a:prstGeom prst="rect">
            <a:avLst/>
          </a:prstGeom>
          <a:noFill/>
        </p:spPr>
        <p:txBody>
          <a:bodyPr wrap="none" rtlCol="0">
            <a:spAutoFit/>
          </a:bodyPr>
          <a:lstStyle/>
          <a:p>
            <a:r>
              <a:rPr lang="en-US" altLang="ko-KR" sz="12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rPr>
              <a:t>Filter handle</a:t>
            </a:r>
            <a:endParaRPr lang="ko-KR" altLang="en-US" sz="12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endParaRPr>
          </a:p>
        </p:txBody>
      </p:sp>
      <p:cxnSp>
        <p:nvCxnSpPr>
          <p:cNvPr id="112" name="직선 화살표 연결선 111"/>
          <p:cNvCxnSpPr/>
          <p:nvPr/>
        </p:nvCxnSpPr>
        <p:spPr>
          <a:xfrm flipH="1">
            <a:off x="5138790" y="2747416"/>
            <a:ext cx="498612" cy="9193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이등변 삼각형 112">
            <a:extLst>
              <a:ext uri="{FF2B5EF4-FFF2-40B4-BE49-F238E27FC236}">
                <a16:creationId xmlns:a16="http://schemas.microsoft.com/office/drawing/2014/main" id="{C9109D2A-3031-47B8-B2D0-B3A535863650}"/>
              </a:ext>
            </a:extLst>
          </p:cNvPr>
          <p:cNvSpPr/>
          <p:nvPr/>
        </p:nvSpPr>
        <p:spPr>
          <a:xfrm rot="1800000">
            <a:off x="834392" y="3767465"/>
            <a:ext cx="682164" cy="1044258"/>
          </a:xfrm>
          <a:prstGeom prst="triangle">
            <a:avLst>
              <a:gd name="adj" fmla="val 68690"/>
            </a:avLst>
          </a:prstGeom>
          <a:gradFill>
            <a:gsLst>
              <a:gs pos="1000">
                <a:schemeClr val="bg1">
                  <a:lumMod val="75000"/>
                  <a:alpha val="0"/>
                </a:schemeClr>
              </a:gs>
              <a:gs pos="100000">
                <a:schemeClr val="tx1">
                  <a:lumMod val="75000"/>
                  <a:lumOff val="2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panose="020B0604020202020204" pitchFamily="34" charset="0"/>
              <a:ea typeface="LG스마트체2.0 SemiBold" panose="020B0600000101010101" pitchFamily="50" charset="-127"/>
              <a:cs typeface="Arial" panose="020B0604020202020204" pitchFamily="34" charset="0"/>
            </a:endParaRPr>
          </a:p>
        </p:txBody>
      </p:sp>
      <p:pic>
        <p:nvPicPr>
          <p:cNvPr id="114" name="그림 11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31165" y="4380410"/>
            <a:ext cx="1518333" cy="1010227"/>
          </a:xfrm>
          <a:prstGeom prst="ellipse">
            <a:avLst/>
          </a:prstGeom>
          <a:ln w="3175" cap="rnd">
            <a:solidFill>
              <a:srgbClr val="F33838"/>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09" name="TextBox 108"/>
          <p:cNvSpPr txBox="1"/>
          <p:nvPr/>
        </p:nvSpPr>
        <p:spPr>
          <a:xfrm>
            <a:off x="247320" y="3965985"/>
            <a:ext cx="590226" cy="276999"/>
          </a:xfrm>
          <a:prstGeom prst="rect">
            <a:avLst/>
          </a:prstGeom>
          <a:noFill/>
        </p:spPr>
        <p:txBody>
          <a:bodyPr wrap="none" rtlCol="0">
            <a:spAutoFit/>
          </a:bodyPr>
          <a:lstStyle/>
          <a:p>
            <a:r>
              <a:rPr lang="en-US" altLang="ko-KR" sz="12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rPr>
              <a:t>Button</a:t>
            </a:r>
            <a:endParaRPr lang="ko-KR" altLang="en-US" sz="12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endParaRPr>
          </a:p>
        </p:txBody>
      </p:sp>
      <p:pic>
        <p:nvPicPr>
          <p:cNvPr id="46" name="그림 4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6563" y="4780365"/>
            <a:ext cx="599959" cy="583596"/>
          </a:xfrm>
          <a:prstGeom prst="rect">
            <a:avLst/>
          </a:prstGeom>
        </p:spPr>
      </p:pic>
      <p:pic>
        <p:nvPicPr>
          <p:cNvPr id="5" name="그림 4"/>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8025" y="5274386"/>
            <a:ext cx="514103" cy="984452"/>
          </a:xfrm>
          <a:prstGeom prst="rect">
            <a:avLst/>
          </a:prstGeom>
        </p:spPr>
      </p:pic>
      <p:sp>
        <p:nvSpPr>
          <p:cNvPr id="49" name="자유형: 도형 63">
            <a:extLst>
              <a:ext uri="{FF2B5EF4-FFF2-40B4-BE49-F238E27FC236}">
                <a16:creationId xmlns:a16="http://schemas.microsoft.com/office/drawing/2014/main" id="{5DC2A5D2-ACB9-4977-B50A-DD3A1A293002}"/>
              </a:ext>
            </a:extLst>
          </p:cNvPr>
          <p:cNvSpPr/>
          <p:nvPr/>
        </p:nvSpPr>
        <p:spPr>
          <a:xfrm flipV="1">
            <a:off x="1418867" y="5403629"/>
            <a:ext cx="279218" cy="439024"/>
          </a:xfrm>
          <a:custGeom>
            <a:avLst/>
            <a:gdLst>
              <a:gd name="connsiteX0" fmla="*/ 129234 w 258468"/>
              <a:gd name="connsiteY0" fmla="*/ 0 h 450425"/>
              <a:gd name="connsiteX1" fmla="*/ 152094 w 258468"/>
              <a:gd name="connsiteY1" fmla="*/ 22860 h 450425"/>
              <a:gd name="connsiteX2" fmla="*/ 151434 w 258468"/>
              <a:gd name="connsiteY2" fmla="*/ 24453 h 450425"/>
              <a:gd name="connsiteX3" fmla="*/ 151953 w 258468"/>
              <a:gd name="connsiteY3" fmla="*/ 24453 h 450425"/>
              <a:gd name="connsiteX4" fmla="*/ 151953 w 258468"/>
              <a:gd name="connsiteY4" fmla="*/ 366687 h 450425"/>
              <a:gd name="connsiteX5" fmla="*/ 219653 w 258468"/>
              <a:gd name="connsiteY5" fmla="*/ 293612 h 450425"/>
              <a:gd name="connsiteX6" fmla="*/ 220414 w 258468"/>
              <a:gd name="connsiteY6" fmla="*/ 292790 h 450425"/>
              <a:gd name="connsiteX7" fmla="*/ 251619 w 258468"/>
              <a:gd name="connsiteY7" fmla="*/ 293612 h 450425"/>
              <a:gd name="connsiteX8" fmla="*/ 252380 w 258468"/>
              <a:gd name="connsiteY8" fmla="*/ 294433 h 450425"/>
              <a:gd name="connsiteX9" fmla="*/ 251619 w 258468"/>
              <a:gd name="connsiteY9" fmla="*/ 328117 h 450425"/>
              <a:gd name="connsiteX10" fmla="*/ 145141 w 258468"/>
              <a:gd name="connsiteY10" fmla="*/ 443032 h 450425"/>
              <a:gd name="connsiteX11" fmla="*/ 144380 w 258468"/>
              <a:gd name="connsiteY11" fmla="*/ 443854 h 450425"/>
              <a:gd name="connsiteX12" fmla="*/ 113174 w 258468"/>
              <a:gd name="connsiteY12" fmla="*/ 443032 h 450425"/>
              <a:gd name="connsiteX13" fmla="*/ 6620 w 258468"/>
              <a:gd name="connsiteY13" fmla="*/ 328133 h 450425"/>
              <a:gd name="connsiteX14" fmla="*/ 6620 w 258468"/>
              <a:gd name="connsiteY14" fmla="*/ 293629 h 450425"/>
              <a:gd name="connsiteX15" fmla="*/ 38587 w 258468"/>
              <a:gd name="connsiteY15" fmla="*/ 293629 h 450425"/>
              <a:gd name="connsiteX16" fmla="*/ 106325 w 258468"/>
              <a:gd name="connsiteY16" fmla="*/ 366703 h 450425"/>
              <a:gd name="connsiteX17" fmla="*/ 106325 w 258468"/>
              <a:gd name="connsiteY17" fmla="*/ 24453 h 450425"/>
              <a:gd name="connsiteX18" fmla="*/ 107034 w 258468"/>
              <a:gd name="connsiteY18" fmla="*/ 24453 h 450425"/>
              <a:gd name="connsiteX19" fmla="*/ 106374 w 258468"/>
              <a:gd name="connsiteY19" fmla="*/ 22860 h 450425"/>
              <a:gd name="connsiteX20" fmla="*/ 129234 w 258468"/>
              <a:gd name="connsiteY20" fmla="*/ 0 h 45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8468" h="450425">
                <a:moveTo>
                  <a:pt x="129234" y="0"/>
                </a:moveTo>
                <a:cubicBezTo>
                  <a:pt x="141859" y="0"/>
                  <a:pt x="152094" y="10235"/>
                  <a:pt x="152094" y="22860"/>
                </a:cubicBezTo>
                <a:lnTo>
                  <a:pt x="151434" y="24453"/>
                </a:lnTo>
                <a:lnTo>
                  <a:pt x="151953" y="24453"/>
                </a:lnTo>
                <a:lnTo>
                  <a:pt x="151953" y="366687"/>
                </a:lnTo>
                <a:lnTo>
                  <a:pt x="219653" y="293612"/>
                </a:lnTo>
                <a:cubicBezTo>
                  <a:pt x="219900" y="293332"/>
                  <a:pt x="220154" y="293058"/>
                  <a:pt x="220414" y="292790"/>
                </a:cubicBezTo>
                <a:cubicBezTo>
                  <a:pt x="229241" y="283716"/>
                  <a:pt x="243212" y="284083"/>
                  <a:pt x="251619" y="293612"/>
                </a:cubicBezTo>
                <a:cubicBezTo>
                  <a:pt x="251878" y="293879"/>
                  <a:pt x="252133" y="294153"/>
                  <a:pt x="252380" y="294433"/>
                </a:cubicBezTo>
                <a:cubicBezTo>
                  <a:pt x="260787" y="303961"/>
                  <a:pt x="260446" y="319041"/>
                  <a:pt x="251619" y="328117"/>
                </a:cubicBezTo>
                <a:lnTo>
                  <a:pt x="145141" y="443032"/>
                </a:lnTo>
                <a:cubicBezTo>
                  <a:pt x="144894" y="443312"/>
                  <a:pt x="144640" y="443586"/>
                  <a:pt x="144380" y="443854"/>
                </a:cubicBezTo>
                <a:cubicBezTo>
                  <a:pt x="135553" y="452928"/>
                  <a:pt x="121582" y="452560"/>
                  <a:pt x="113174" y="443032"/>
                </a:cubicBezTo>
                <a:lnTo>
                  <a:pt x="6620" y="328133"/>
                </a:lnTo>
                <a:cubicBezTo>
                  <a:pt x="-2207" y="318605"/>
                  <a:pt x="-2207" y="303157"/>
                  <a:pt x="6620" y="293629"/>
                </a:cubicBezTo>
                <a:cubicBezTo>
                  <a:pt x="15448" y="284101"/>
                  <a:pt x="29759" y="284101"/>
                  <a:pt x="38587" y="293629"/>
                </a:cubicBezTo>
                <a:lnTo>
                  <a:pt x="106325" y="366703"/>
                </a:lnTo>
                <a:lnTo>
                  <a:pt x="106325" y="24453"/>
                </a:lnTo>
                <a:lnTo>
                  <a:pt x="107034" y="24453"/>
                </a:lnTo>
                <a:lnTo>
                  <a:pt x="106374" y="22860"/>
                </a:lnTo>
                <a:cubicBezTo>
                  <a:pt x="106374" y="10235"/>
                  <a:pt x="116609" y="0"/>
                  <a:pt x="129234" y="0"/>
                </a:cubicBezTo>
                <a:close/>
              </a:path>
            </a:pathLst>
          </a:custGeom>
          <a:solidFill>
            <a:schemeClr val="bg1">
              <a:lumMod val="75000"/>
            </a:schemeClr>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nvGrpSpPr>
          <p:cNvPr id="7" name="그룹 6"/>
          <p:cNvGrpSpPr/>
          <p:nvPr/>
        </p:nvGrpSpPr>
        <p:grpSpPr>
          <a:xfrm>
            <a:off x="8151174" y="3321843"/>
            <a:ext cx="1493512" cy="1557471"/>
            <a:chOff x="11605704" y="3140833"/>
            <a:chExt cx="2276097" cy="2103970"/>
          </a:xfrm>
        </p:grpSpPr>
        <p:pic>
          <p:nvPicPr>
            <p:cNvPr id="55" name="그림 54"/>
            <p:cNvPicPr>
              <a:picLocks noChangeAspect="1"/>
            </p:cNvPicPr>
            <p:nvPr/>
          </p:nvPicPr>
          <p:blipFill>
            <a:blip r:embed="rId9"/>
            <a:stretch>
              <a:fillRect/>
            </a:stretch>
          </p:blipFill>
          <p:spPr>
            <a:xfrm flipH="1">
              <a:off x="11605704" y="3140833"/>
              <a:ext cx="2276097" cy="2101360"/>
            </a:xfrm>
            <a:prstGeom prst="rect">
              <a:avLst/>
            </a:prstGeom>
          </p:spPr>
        </p:pic>
        <p:sp>
          <p:nvSpPr>
            <p:cNvPr id="58" name="Text Box 41"/>
            <p:cNvSpPr txBox="1">
              <a:spLocks noChangeArrowheads="1"/>
            </p:cNvSpPr>
            <p:nvPr/>
          </p:nvSpPr>
          <p:spPr bwMode="auto">
            <a:xfrm flipH="1">
              <a:off x="11605704" y="5080636"/>
              <a:ext cx="1199671" cy="164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spcBef>
                  <a:spcPct val="20000"/>
                </a:spcBef>
              </a:pPr>
              <a:r>
                <a:rPr kumimoji="0" lang="en-US" altLang="ko-KR" sz="700" b="1" dirty="0">
                  <a:solidFill>
                    <a:srgbClr val="000000"/>
                  </a:solidFill>
                  <a:latin typeface="Arial Narrow" panose="020B0606020202030204" pitchFamily="34" charset="0"/>
                  <a:ea typeface="LG스마트체 Regular" panose="020B0600000101010101" pitchFamily="50" charset="-127"/>
                  <a:cs typeface="Arial" panose="020B0604020202020204" pitchFamily="34" charset="0"/>
                </a:rPr>
                <a:t>Total Heat Exchanger</a:t>
              </a:r>
            </a:p>
          </p:txBody>
        </p:sp>
        <p:cxnSp>
          <p:nvCxnSpPr>
            <p:cNvPr id="60" name="직선 연결선 59"/>
            <p:cNvCxnSpPr/>
            <p:nvPr/>
          </p:nvCxnSpPr>
          <p:spPr>
            <a:xfrm flipH="1">
              <a:off x="12419110" y="4504627"/>
              <a:ext cx="195464" cy="5145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8" name="그림 7"/>
          <p:cNvPicPr>
            <a:picLocks noChangeAspect="1"/>
          </p:cNvPicPr>
          <p:nvPr/>
        </p:nvPicPr>
        <p:blipFill rotWithShape="1">
          <a:blip r:embed="rId10"/>
          <a:srcRect b="6921"/>
          <a:stretch/>
        </p:blipFill>
        <p:spPr>
          <a:xfrm>
            <a:off x="2091688" y="4289594"/>
            <a:ext cx="1363554" cy="984792"/>
          </a:xfrm>
          <a:prstGeom prst="ellipse">
            <a:avLst/>
          </a:prstGeom>
          <a:solidFill>
            <a:schemeClr val="bg1"/>
          </a:solidFill>
          <a:ln w="3175" cap="rnd">
            <a:solidFill>
              <a:srgbClr val="F33838"/>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9" name="TextBox 2">
            <a:extLst>
              <a:ext uri="{FF2B5EF4-FFF2-40B4-BE49-F238E27FC236}">
                <a16:creationId xmlns:a16="http://schemas.microsoft.com/office/drawing/2014/main" id="{BC1C9010-E3C1-49D1-A90D-7A2E2A0E3CB7}"/>
              </a:ext>
            </a:extLst>
          </p:cNvPr>
          <p:cNvSpPr txBox="1"/>
          <p:nvPr/>
        </p:nvSpPr>
        <p:spPr>
          <a:xfrm>
            <a:off x="1817777" y="5310207"/>
            <a:ext cx="2061783" cy="611902"/>
          </a:xfrm>
          <a:prstGeom prst="rect">
            <a:avLst/>
          </a:prstGeom>
          <a:solidFill>
            <a:schemeClr val="bg1"/>
          </a:solidFill>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50" normalizeH="0">
                <a:ln>
                  <a:solidFill>
                    <a:srgbClr val="4472C4">
                      <a:alpha val="0"/>
                    </a:srgbClr>
                  </a:solidFill>
                </a:ln>
                <a:effectLst/>
                <a:uLnTx/>
                <a:uFillTx/>
                <a:latin typeface="LG스마트체 SemiBold" panose="020B0600000101010101" pitchFamily="50" charset="-127"/>
                <a:ea typeface="LG스마트체 SemiBold" panose="020B0600000101010101" pitchFamily="50" charset="-127"/>
              </a:defRPr>
            </a:lvl1pPr>
          </a:lstStyle>
          <a:p>
            <a:pPr algn="l"/>
            <a:r>
              <a:rPr lang="en-US" altLang="ko-KR" dirty="0">
                <a:latin typeface="Arial" panose="020B0604020202020204" pitchFamily="34" charset="0"/>
                <a:cs typeface="Arial" panose="020B0604020202020204" pitchFamily="34" charset="0"/>
              </a:rPr>
              <a:t>Press the button and</a:t>
            </a:r>
          </a:p>
          <a:p>
            <a:pPr algn="l"/>
            <a:r>
              <a:rPr lang="en-US" altLang="ko-KR" dirty="0">
                <a:latin typeface="Arial" panose="020B0604020202020204" pitchFamily="34" charset="0"/>
                <a:cs typeface="Arial" panose="020B0604020202020204" pitchFamily="34" charset="0"/>
              </a:rPr>
              <a:t>remove the safety hook</a:t>
            </a:r>
          </a:p>
        </p:txBody>
      </p:sp>
      <p:grpSp>
        <p:nvGrpSpPr>
          <p:cNvPr id="97" name="그룹 96">
            <a:extLst>
              <a:ext uri="{FF2B5EF4-FFF2-40B4-BE49-F238E27FC236}">
                <a16:creationId xmlns:a16="http://schemas.microsoft.com/office/drawing/2014/main" id="{17D88424-ACE0-4815-8F85-2C086275F99B}"/>
              </a:ext>
            </a:extLst>
          </p:cNvPr>
          <p:cNvGrpSpPr/>
          <p:nvPr/>
        </p:nvGrpSpPr>
        <p:grpSpPr>
          <a:xfrm>
            <a:off x="3739833" y="5049318"/>
            <a:ext cx="2511089" cy="795174"/>
            <a:chOff x="3787463" y="4215738"/>
            <a:chExt cx="2511089" cy="795174"/>
          </a:xfrm>
        </p:grpSpPr>
        <p:sp>
          <p:nvSpPr>
            <p:cNvPr id="98" name="사각형: 둥근 모서리 12">
              <a:extLst>
                <a:ext uri="{FF2B5EF4-FFF2-40B4-BE49-F238E27FC236}">
                  <a16:creationId xmlns:a16="http://schemas.microsoft.com/office/drawing/2014/main" id="{8219ED29-B59A-4C11-9124-6BFECDFEA00E}"/>
                </a:ext>
              </a:extLst>
            </p:cNvPr>
            <p:cNvSpPr/>
            <p:nvPr/>
          </p:nvSpPr>
          <p:spPr>
            <a:xfrm>
              <a:off x="3834645" y="4215738"/>
              <a:ext cx="2281861" cy="79517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cs typeface="Arial" panose="020B0604020202020204" pitchFamily="34" charset="0"/>
              </a:endParaRPr>
            </a:p>
          </p:txBody>
        </p:sp>
        <p:sp>
          <p:nvSpPr>
            <p:cNvPr id="99" name="TextBox 2">
              <a:extLst>
                <a:ext uri="{FF2B5EF4-FFF2-40B4-BE49-F238E27FC236}">
                  <a16:creationId xmlns:a16="http://schemas.microsoft.com/office/drawing/2014/main" id="{BC1C9010-E3C1-49D1-A90D-7A2E2A0E3CB7}"/>
                </a:ext>
              </a:extLst>
            </p:cNvPr>
            <p:cNvSpPr txBox="1"/>
            <p:nvPr/>
          </p:nvSpPr>
          <p:spPr>
            <a:xfrm>
              <a:off x="3787463" y="4228304"/>
              <a:ext cx="2511089" cy="738664"/>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50" normalizeH="0">
                  <a:ln>
                    <a:solidFill>
                      <a:srgbClr val="4472C4">
                        <a:alpha val="0"/>
                      </a:srgbClr>
                    </a:solidFill>
                  </a:ln>
                  <a:effectLst/>
                  <a:uLnTx/>
                  <a:uFillTx/>
                  <a:latin typeface="LG스마트체 SemiBold" panose="020B0600000101010101" pitchFamily="50" charset="-127"/>
                  <a:ea typeface="LG스마트체 SemiBold" panose="020B0600000101010101" pitchFamily="50" charset="-127"/>
                </a:defRPr>
              </a:lvl1pPr>
            </a:lstStyle>
            <a:p>
              <a:pPr algn="l"/>
              <a:r>
                <a:rPr lang="en-US" altLang="ko-KR" dirty="0">
                  <a:latin typeface="Arial" panose="020B0604020202020204" pitchFamily="34" charset="0"/>
                  <a:cs typeface="Arial" panose="020B0604020202020204" pitchFamily="34" charset="0"/>
                </a:rPr>
                <a:t>After removing the fall prevention wire, </a:t>
              </a:r>
            </a:p>
            <a:p>
              <a:pPr algn="l"/>
              <a:r>
                <a:rPr lang="en-US" altLang="ko-KR" dirty="0">
                  <a:latin typeface="Arial" panose="020B0604020202020204" pitchFamily="34" charset="0"/>
                  <a:cs typeface="Arial" panose="020B0604020202020204" pitchFamily="34" charset="0"/>
                </a:rPr>
                <a:t>pull down the cover to open it.</a:t>
              </a:r>
            </a:p>
          </p:txBody>
        </p:sp>
      </p:grpSp>
    </p:spTree>
    <p:extLst>
      <p:ext uri="{BB962C8B-B14F-4D97-AF65-F5344CB8AC3E}">
        <p14:creationId xmlns:p14="http://schemas.microsoft.com/office/powerpoint/2010/main" val="27848030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Convenient Design Program – LATS HVAC</a:t>
            </a:r>
          </a:p>
        </p:txBody>
      </p:sp>
      <p:sp>
        <p:nvSpPr>
          <p:cNvPr id="6" name="텍스트 개체 틀 5"/>
          <p:cNvSpPr>
            <a:spLocks noGrp="1"/>
          </p:cNvSpPr>
          <p:nvPr>
            <p:ph type="body" sz="quarter" idx="20"/>
          </p:nvPr>
        </p:nvSpPr>
        <p:spPr/>
        <p:txBody>
          <a:bodyPr/>
          <a:lstStyle/>
          <a:p>
            <a:r>
              <a:rPr lang="en-US" altLang="ko-KR" dirty="0"/>
              <a:t>Convenience</a:t>
            </a:r>
          </a:p>
        </p:txBody>
      </p:sp>
      <p:sp>
        <p:nvSpPr>
          <p:cNvPr id="8" name="직사각형 7"/>
          <p:cNvSpPr/>
          <p:nvPr/>
        </p:nvSpPr>
        <p:spPr>
          <a:xfrm>
            <a:off x="2413325" y="3118177"/>
            <a:ext cx="2190446" cy="214371"/>
          </a:xfrm>
          <a:custGeom>
            <a:avLst/>
            <a:gdLst>
              <a:gd name="connsiteX0" fmla="*/ 0 w 2002808"/>
              <a:gd name="connsiteY0" fmla="*/ 0 h 263939"/>
              <a:gd name="connsiteX1" fmla="*/ 2002808 w 2002808"/>
              <a:gd name="connsiteY1" fmla="*/ 0 h 263939"/>
              <a:gd name="connsiteX2" fmla="*/ 2002808 w 2002808"/>
              <a:gd name="connsiteY2" fmla="*/ 263939 h 263939"/>
              <a:gd name="connsiteX3" fmla="*/ 0 w 2002808"/>
              <a:gd name="connsiteY3" fmla="*/ 263939 h 263939"/>
              <a:gd name="connsiteX4" fmla="*/ 0 w 2002808"/>
              <a:gd name="connsiteY4" fmla="*/ 0 h 263939"/>
              <a:gd name="connsiteX0" fmla="*/ 0 w 2240756"/>
              <a:gd name="connsiteY0" fmla="*/ 0 h 263939"/>
              <a:gd name="connsiteX1" fmla="*/ 2240756 w 2240756"/>
              <a:gd name="connsiteY1" fmla="*/ 3399 h 263939"/>
              <a:gd name="connsiteX2" fmla="*/ 2002808 w 2240756"/>
              <a:gd name="connsiteY2" fmla="*/ 263939 h 263939"/>
              <a:gd name="connsiteX3" fmla="*/ 0 w 2240756"/>
              <a:gd name="connsiteY3" fmla="*/ 263939 h 263939"/>
              <a:gd name="connsiteX4" fmla="*/ 0 w 2240756"/>
              <a:gd name="connsiteY4" fmla="*/ 0 h 263939"/>
              <a:gd name="connsiteX0" fmla="*/ 0 w 2193166"/>
              <a:gd name="connsiteY0" fmla="*/ 0 h 263939"/>
              <a:gd name="connsiteX1" fmla="*/ 2193166 w 2193166"/>
              <a:gd name="connsiteY1" fmla="*/ 101566 h 263939"/>
              <a:gd name="connsiteX2" fmla="*/ 2002808 w 2193166"/>
              <a:gd name="connsiteY2" fmla="*/ 263939 h 263939"/>
              <a:gd name="connsiteX3" fmla="*/ 0 w 2193166"/>
              <a:gd name="connsiteY3" fmla="*/ 263939 h 263939"/>
              <a:gd name="connsiteX4" fmla="*/ 0 w 2193166"/>
              <a:gd name="connsiteY4" fmla="*/ 0 h 263939"/>
              <a:gd name="connsiteX0" fmla="*/ 0 w 2257700"/>
              <a:gd name="connsiteY0" fmla="*/ 0 h 263939"/>
              <a:gd name="connsiteX1" fmla="*/ 2257700 w 2257700"/>
              <a:gd name="connsiteY1" fmla="*/ 51267 h 263939"/>
              <a:gd name="connsiteX2" fmla="*/ 2002808 w 2257700"/>
              <a:gd name="connsiteY2" fmla="*/ 263939 h 263939"/>
              <a:gd name="connsiteX3" fmla="*/ 0 w 2257700"/>
              <a:gd name="connsiteY3" fmla="*/ 263939 h 263939"/>
              <a:gd name="connsiteX4" fmla="*/ 0 w 2257700"/>
              <a:gd name="connsiteY4" fmla="*/ 0 h 263939"/>
              <a:gd name="connsiteX0" fmla="*/ 0 w 2220338"/>
              <a:gd name="connsiteY0" fmla="*/ 0 h 263939"/>
              <a:gd name="connsiteX1" fmla="*/ 2220338 w 2220338"/>
              <a:gd name="connsiteY1" fmla="*/ 64984 h 263939"/>
              <a:gd name="connsiteX2" fmla="*/ 2002808 w 2220338"/>
              <a:gd name="connsiteY2" fmla="*/ 263939 h 263939"/>
              <a:gd name="connsiteX3" fmla="*/ 0 w 2220338"/>
              <a:gd name="connsiteY3" fmla="*/ 263939 h 263939"/>
              <a:gd name="connsiteX4" fmla="*/ 0 w 2220338"/>
              <a:gd name="connsiteY4" fmla="*/ 0 h 263939"/>
              <a:gd name="connsiteX0" fmla="*/ 0 w 2237529"/>
              <a:gd name="connsiteY0" fmla="*/ 0 h 263939"/>
              <a:gd name="connsiteX1" fmla="*/ 2237529 w 2237529"/>
              <a:gd name="connsiteY1" fmla="*/ 40809 h 263939"/>
              <a:gd name="connsiteX2" fmla="*/ 2002808 w 2237529"/>
              <a:gd name="connsiteY2" fmla="*/ 263939 h 263939"/>
              <a:gd name="connsiteX3" fmla="*/ 0 w 2237529"/>
              <a:gd name="connsiteY3" fmla="*/ 263939 h 263939"/>
              <a:gd name="connsiteX4" fmla="*/ 0 w 2237529"/>
              <a:gd name="connsiteY4" fmla="*/ 0 h 26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529" h="263939">
                <a:moveTo>
                  <a:pt x="0" y="0"/>
                </a:moveTo>
                <a:lnTo>
                  <a:pt x="2237529" y="40809"/>
                </a:lnTo>
                <a:lnTo>
                  <a:pt x="2002808" y="263939"/>
                </a:lnTo>
                <a:lnTo>
                  <a:pt x="0" y="263939"/>
                </a:lnTo>
                <a:lnTo>
                  <a:pt x="0" y="0"/>
                </a:lnTo>
                <a:close/>
              </a:path>
            </a:pathLst>
          </a:custGeom>
          <a:gradFill>
            <a:gsLst>
              <a:gs pos="100000">
                <a:schemeClr val="bg1">
                  <a:lumMod val="75000"/>
                </a:schemeClr>
              </a:gs>
              <a:gs pos="20000">
                <a:schemeClr val="bg1">
                  <a:lumMod val="75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914321"/>
            <a:endParaRPr lang="ko-KR" altLang="en-US">
              <a:solidFill>
                <a:prstClr val="white"/>
              </a:solidFill>
              <a:latin typeface="Arial" panose="020B0604020202020204" pitchFamily="34" charset="0"/>
              <a:cs typeface="Arial" panose="020B0604020202020204" pitchFamily="34" charset="0"/>
            </a:endParaRPr>
          </a:p>
        </p:txBody>
      </p:sp>
      <p:pic>
        <p:nvPicPr>
          <p:cNvPr id="11" name="Picture 4" descr="D:\2016년\03. 해외\10. ERV\02. 2차\환기캡쳐\환기선정.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74128" y="2168033"/>
            <a:ext cx="2002808" cy="1164515"/>
          </a:xfrm>
          <a:prstGeom prst="rect">
            <a:avLst/>
          </a:prstGeom>
          <a:noFill/>
          <a:ln>
            <a:noFill/>
          </a:ln>
          <a:effectLst>
            <a:reflection blurRad="6350" stA="15000" endPos="25000" dir="5400000" sy="-100000" algn="bl" rotWithShape="0"/>
          </a:effectLst>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65A81A9C-B61F-2DEA-26B1-7523CE4594E4}"/>
              </a:ext>
            </a:extLst>
          </p:cNvPr>
          <p:cNvSpPr>
            <a:spLocks noGrp="1"/>
          </p:cNvSpPr>
          <p:nvPr>
            <p:ph type="body" sz="quarter" idx="21"/>
          </p:nvPr>
        </p:nvSpPr>
        <p:spPr>
          <a:xfrm>
            <a:off x="278422" y="748127"/>
            <a:ext cx="9342438" cy="541687"/>
          </a:xfrm>
        </p:spPr>
        <p:txBody>
          <a:bodyPr/>
          <a:lstStyle/>
          <a:p>
            <a:pPr marL="285750" indent="-285750">
              <a:buFont typeface="Arial" panose="020B0604020202020204" pitchFamily="34" charset="0"/>
              <a:buChar char="•"/>
            </a:pPr>
            <a:r>
              <a:rPr lang="en-US" dirty="0"/>
              <a:t>Input Supply Air Flow rate (CFM) and ESP (external static pressure, in)</a:t>
            </a:r>
          </a:p>
          <a:p>
            <a:pPr marL="285750" indent="-285750">
              <a:buFont typeface="Arial" panose="020B0604020202020204" pitchFamily="34" charset="0"/>
              <a:buChar char="•"/>
            </a:pPr>
            <a:r>
              <a:rPr lang="en-US" dirty="0"/>
              <a:t>Select accessories</a:t>
            </a:r>
          </a:p>
        </p:txBody>
      </p:sp>
      <p:pic>
        <p:nvPicPr>
          <p:cNvPr id="17" name="Picture 16">
            <a:extLst>
              <a:ext uri="{FF2B5EF4-FFF2-40B4-BE49-F238E27FC236}">
                <a16:creationId xmlns:a16="http://schemas.microsoft.com/office/drawing/2014/main" id="{13503B81-3C9D-9AFE-A18C-F9F15E318D73}"/>
              </a:ext>
            </a:extLst>
          </p:cNvPr>
          <p:cNvPicPr>
            <a:picLocks noChangeAspect="1"/>
          </p:cNvPicPr>
          <p:nvPr/>
        </p:nvPicPr>
        <p:blipFill>
          <a:blip r:embed="rId3"/>
          <a:stretch>
            <a:fillRect/>
          </a:stretch>
        </p:blipFill>
        <p:spPr>
          <a:xfrm>
            <a:off x="587506" y="1610447"/>
            <a:ext cx="7394444" cy="4124207"/>
          </a:xfrm>
          <a:prstGeom prst="rect">
            <a:avLst/>
          </a:prstGeom>
        </p:spPr>
      </p:pic>
    </p:spTree>
    <p:extLst>
      <p:ext uri="{BB962C8B-B14F-4D97-AF65-F5344CB8AC3E}">
        <p14:creationId xmlns:p14="http://schemas.microsoft.com/office/powerpoint/2010/main" val="39908923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2045633" y="2586107"/>
            <a:ext cx="5814733" cy="821955"/>
            <a:chOff x="163130" y="5312146"/>
            <a:chExt cx="5814733" cy="821955"/>
          </a:xfrm>
        </p:grpSpPr>
        <p:sp>
          <p:nvSpPr>
            <p:cNvPr id="8" name="TextBox 7">
              <a:extLst>
                <a:ext uri="{FF2B5EF4-FFF2-40B4-BE49-F238E27FC236}">
                  <a16:creationId xmlns:a16="http://schemas.microsoft.com/office/drawing/2014/main" id="{B136B945-D790-41EC-BAE4-E31E1F22B7B2}"/>
                </a:ext>
              </a:extLst>
            </p:cNvPr>
            <p:cNvSpPr txBox="1"/>
            <p:nvPr/>
          </p:nvSpPr>
          <p:spPr>
            <a:xfrm>
              <a:off x="163130" y="5312146"/>
              <a:ext cx="5814733"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How to control LG ERV</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spTree>
    <p:extLst>
      <p:ext uri="{BB962C8B-B14F-4D97-AF65-F5344CB8AC3E}">
        <p14:creationId xmlns:p14="http://schemas.microsoft.com/office/powerpoint/2010/main" val="914312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2521885" y="2586107"/>
            <a:ext cx="4862229" cy="1685786"/>
            <a:chOff x="639382" y="5312146"/>
            <a:chExt cx="4862229" cy="1685786"/>
          </a:xfrm>
        </p:grpSpPr>
        <p:sp>
          <p:nvSpPr>
            <p:cNvPr id="8" name="TextBox 7">
              <a:extLst>
                <a:ext uri="{FF2B5EF4-FFF2-40B4-BE49-F238E27FC236}">
                  <a16:creationId xmlns:a16="http://schemas.microsoft.com/office/drawing/2014/main" id="{B136B945-D790-41EC-BAE4-E31E1F22B7B2}"/>
                </a:ext>
              </a:extLst>
            </p:cNvPr>
            <p:cNvSpPr txBox="1"/>
            <p:nvPr/>
          </p:nvSpPr>
          <p:spPr>
            <a:xfrm>
              <a:off x="1610514" y="5312146"/>
              <a:ext cx="2919967"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Ventilation,</a:t>
              </a:r>
            </a:p>
          </p:txBody>
        </p:sp>
        <p:sp>
          <p:nvSpPr>
            <p:cNvPr id="15" name="TextBox 14">
              <a:extLst>
                <a:ext uri="{FF2B5EF4-FFF2-40B4-BE49-F238E27FC236}">
                  <a16:creationId xmlns:a16="http://schemas.microsoft.com/office/drawing/2014/main" id="{DF66509F-7449-4E75-AA42-CB41621819D1}"/>
                </a:ext>
              </a:extLst>
            </p:cNvPr>
            <p:cNvSpPr txBox="1"/>
            <p:nvPr/>
          </p:nvSpPr>
          <p:spPr>
            <a:xfrm>
              <a:off x="639382" y="6290046"/>
              <a:ext cx="4862229" cy="707886"/>
            </a:xfrm>
            <a:prstGeom prst="rect">
              <a:avLst/>
            </a:prstGeom>
            <a:noFill/>
          </p:spPr>
          <p:txBody>
            <a:bodyPr wrap="none" rtlCol="0" anchor="ctr">
              <a:spAutoFit/>
            </a:bodyPr>
            <a:lstStyle/>
            <a:p>
              <a:pPr algn="ctr"/>
              <a:r>
                <a:rPr lang="en-US" altLang="ko-KR" sz="4000" i="1" dirty="0">
                  <a:latin typeface="Arial" panose="020B0604020202020204" pitchFamily="34" charset="0"/>
                  <a:ea typeface="LG스마트체 Light" panose="020B0600000101010101" pitchFamily="50" charset="-127"/>
                  <a:cs typeface="Arial" panose="020B0604020202020204" pitchFamily="34" charset="0"/>
                </a:rPr>
                <a:t>Why do you need it?</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pic>
        <p:nvPicPr>
          <p:cNvPr id="4" name="Picture 3">
            <a:extLst>
              <a:ext uri="{FF2B5EF4-FFF2-40B4-BE49-F238E27FC236}">
                <a16:creationId xmlns:a16="http://schemas.microsoft.com/office/drawing/2014/main" id="{E64E7BE8-CB39-63D4-1EC4-622BE39388EF}"/>
              </a:ext>
            </a:extLst>
          </p:cNvPr>
          <p:cNvPicPr>
            <a:picLocks noChangeAspect="1"/>
          </p:cNvPicPr>
          <p:nvPr/>
        </p:nvPicPr>
        <p:blipFill>
          <a:blip r:embed="rId3"/>
          <a:stretch>
            <a:fillRect/>
          </a:stretch>
        </p:blipFill>
        <p:spPr>
          <a:xfrm>
            <a:off x="490536" y="4409551"/>
            <a:ext cx="8924925" cy="1971675"/>
          </a:xfrm>
          <a:prstGeom prst="rect">
            <a:avLst/>
          </a:prstGeom>
        </p:spPr>
      </p:pic>
      <p:sp>
        <p:nvSpPr>
          <p:cNvPr id="10" name="TextBox 9">
            <a:extLst>
              <a:ext uri="{FF2B5EF4-FFF2-40B4-BE49-F238E27FC236}">
                <a16:creationId xmlns:a16="http://schemas.microsoft.com/office/drawing/2014/main" id="{22E61507-AF10-E3E1-7777-0EA45BCB801B}"/>
              </a:ext>
            </a:extLst>
          </p:cNvPr>
          <p:cNvSpPr txBox="1"/>
          <p:nvPr/>
        </p:nvSpPr>
        <p:spPr>
          <a:xfrm>
            <a:off x="490536" y="6465164"/>
            <a:ext cx="8728363" cy="307777"/>
          </a:xfrm>
          <a:prstGeom prst="rect">
            <a:avLst/>
          </a:prstGeom>
          <a:noFill/>
        </p:spPr>
        <p:txBody>
          <a:bodyPr wrap="square">
            <a:spAutoFit/>
          </a:bodyPr>
          <a:lstStyle/>
          <a:p>
            <a:r>
              <a:rPr lang="en-US" sz="1400" dirty="0">
                <a:hlinkClick r:id="rId4"/>
              </a:rPr>
              <a:t>https://www.safeopedia.com/definition/1356/ventilation-environmental-health--safety</a:t>
            </a:r>
            <a:r>
              <a:rPr lang="en-US" sz="1400" dirty="0"/>
              <a:t> on 12/12/2022</a:t>
            </a:r>
          </a:p>
        </p:txBody>
      </p:sp>
    </p:spTree>
    <p:extLst>
      <p:ext uri="{BB962C8B-B14F-4D97-AF65-F5344CB8AC3E}">
        <p14:creationId xmlns:p14="http://schemas.microsoft.com/office/powerpoint/2010/main" val="3040005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descr="A picture containing electronics, white&#10;&#10;Description automatically generated">
            <a:extLst>
              <a:ext uri="{FF2B5EF4-FFF2-40B4-BE49-F238E27FC236}">
                <a16:creationId xmlns:a16="http://schemas.microsoft.com/office/drawing/2014/main" id="{1243DB13-5CB5-E137-FE4D-97EC92FA3F0D}"/>
              </a:ext>
            </a:extLst>
          </p:cNvPr>
          <p:cNvPicPr>
            <a:picLocks noChangeAspect="1"/>
          </p:cNvPicPr>
          <p:nvPr/>
        </p:nvPicPr>
        <p:blipFill rotWithShape="1">
          <a:blip r:embed="rId3"/>
          <a:srcRect b="13060"/>
          <a:stretch/>
        </p:blipFill>
        <p:spPr>
          <a:xfrm>
            <a:off x="4775116" y="718165"/>
            <a:ext cx="4583628" cy="3985000"/>
          </a:xfrm>
          <a:prstGeom prst="rect">
            <a:avLst/>
          </a:prstGeom>
        </p:spPr>
      </p:pic>
      <p:sp>
        <p:nvSpPr>
          <p:cNvPr id="41" name="텍스트 개체 틀 1">
            <a:extLst>
              <a:ext uri="{FF2B5EF4-FFF2-40B4-BE49-F238E27FC236}">
                <a16:creationId xmlns:a16="http://schemas.microsoft.com/office/drawing/2014/main" id="{0F549BA9-F16C-393A-1CDC-CB4876F03289}"/>
              </a:ext>
            </a:extLst>
          </p:cNvPr>
          <p:cNvSpPr txBox="1">
            <a:spLocks/>
          </p:cNvSpPr>
          <p:nvPr/>
        </p:nvSpPr>
        <p:spPr>
          <a:xfrm>
            <a:off x="278422" y="64442"/>
            <a:ext cx="9080322" cy="36933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ko-KR" dirty="0"/>
              <a:t>PREMTB100 thermostat </a:t>
            </a:r>
          </a:p>
        </p:txBody>
      </p:sp>
      <p:sp>
        <p:nvSpPr>
          <p:cNvPr id="69" name="TextBox 68">
            <a:extLst>
              <a:ext uri="{FF2B5EF4-FFF2-40B4-BE49-F238E27FC236}">
                <a16:creationId xmlns:a16="http://schemas.microsoft.com/office/drawing/2014/main" id="{A23DA399-0676-0207-5650-5EF4A410B81D}"/>
              </a:ext>
            </a:extLst>
          </p:cNvPr>
          <p:cNvSpPr txBox="1"/>
          <p:nvPr/>
        </p:nvSpPr>
        <p:spPr>
          <a:xfrm>
            <a:off x="6026753" y="4933482"/>
            <a:ext cx="2347783" cy="400110"/>
          </a:xfrm>
          <a:prstGeom prst="rect">
            <a:avLst/>
          </a:prstGeom>
          <a:noFill/>
        </p:spPr>
        <p:txBody>
          <a:bodyPr wrap="square" rtlCol="0">
            <a:spAutoFit/>
          </a:bodyPr>
          <a:lstStyle/>
          <a:p>
            <a:r>
              <a:rPr lang="en-US" sz="2000" b="1" dirty="0">
                <a:latin typeface="Arial" pitchFamily="34" charset="0"/>
                <a:cs typeface="Arial" pitchFamily="34" charset="0"/>
              </a:rPr>
              <a:t>Residential ERV</a:t>
            </a:r>
            <a:endParaRPr lang="en-US" sz="2000" dirty="0">
              <a:latin typeface="Arial" pitchFamily="34" charset="0"/>
              <a:cs typeface="Arial" pitchFamily="34" charset="0"/>
            </a:endParaRPr>
          </a:p>
        </p:txBody>
      </p:sp>
      <p:sp>
        <p:nvSpPr>
          <p:cNvPr id="70" name="Freeform: Shape 69">
            <a:extLst>
              <a:ext uri="{FF2B5EF4-FFF2-40B4-BE49-F238E27FC236}">
                <a16:creationId xmlns:a16="http://schemas.microsoft.com/office/drawing/2014/main" id="{E72EE196-9EC3-324A-3434-D6A3CC298E95}"/>
              </a:ext>
            </a:extLst>
          </p:cNvPr>
          <p:cNvSpPr/>
          <p:nvPr/>
        </p:nvSpPr>
        <p:spPr bwMode="auto">
          <a:xfrm>
            <a:off x="2803480" y="1259604"/>
            <a:ext cx="4917989" cy="1669720"/>
          </a:xfrm>
          <a:custGeom>
            <a:avLst/>
            <a:gdLst>
              <a:gd name="connsiteX0" fmla="*/ 0 w 4917989"/>
              <a:gd name="connsiteY0" fmla="*/ 742963 h 1669720"/>
              <a:gd name="connsiteX1" fmla="*/ 976184 w 4917989"/>
              <a:gd name="connsiteY1" fmla="*/ 1558 h 1669720"/>
              <a:gd name="connsiteX2" fmla="*/ 2236573 w 4917989"/>
              <a:gd name="connsiteY2" fmla="*/ 532898 h 1669720"/>
              <a:gd name="connsiteX3" fmla="*/ 4917989 w 4917989"/>
              <a:gd name="connsiteY3" fmla="*/ 1669720 h 1669720"/>
            </a:gdLst>
            <a:ahLst/>
            <a:cxnLst>
              <a:cxn ang="0">
                <a:pos x="connsiteX0" y="connsiteY0"/>
              </a:cxn>
              <a:cxn ang="0">
                <a:pos x="connsiteX1" y="connsiteY1"/>
              </a:cxn>
              <a:cxn ang="0">
                <a:pos x="connsiteX2" y="connsiteY2"/>
              </a:cxn>
              <a:cxn ang="0">
                <a:pos x="connsiteX3" y="connsiteY3"/>
              </a:cxn>
            </a:cxnLst>
            <a:rect l="l" t="t" r="r" b="b"/>
            <a:pathLst>
              <a:path w="4917989" h="1669720">
                <a:moveTo>
                  <a:pt x="0" y="742963"/>
                </a:moveTo>
                <a:cubicBezTo>
                  <a:pt x="301711" y="389766"/>
                  <a:pt x="603422" y="36569"/>
                  <a:pt x="976184" y="1558"/>
                </a:cubicBezTo>
                <a:cubicBezTo>
                  <a:pt x="1348946" y="-33453"/>
                  <a:pt x="2236573" y="532898"/>
                  <a:pt x="2236573" y="532898"/>
                </a:cubicBezTo>
                <a:lnTo>
                  <a:pt x="4917989" y="1669720"/>
                </a:lnTo>
              </a:path>
            </a:pathLst>
          </a:custGeom>
          <a:ln>
            <a:headEnd/>
            <a:tailEn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pic>
        <p:nvPicPr>
          <p:cNvPr id="9" name="Picture 8">
            <a:extLst>
              <a:ext uri="{FF2B5EF4-FFF2-40B4-BE49-F238E27FC236}">
                <a16:creationId xmlns:a16="http://schemas.microsoft.com/office/drawing/2014/main" id="{EAC6EFB0-92F8-C54D-3C9B-B1BFB1A187C1}"/>
              </a:ext>
            </a:extLst>
          </p:cNvPr>
          <p:cNvPicPr>
            <a:picLocks noChangeAspect="1"/>
          </p:cNvPicPr>
          <p:nvPr/>
        </p:nvPicPr>
        <p:blipFill rotWithShape="1">
          <a:blip r:embed="rId4"/>
          <a:srcRect l="4004"/>
          <a:stretch/>
        </p:blipFill>
        <p:spPr>
          <a:xfrm>
            <a:off x="462888" y="1419225"/>
            <a:ext cx="2674953" cy="2695575"/>
          </a:xfrm>
          <a:prstGeom prst="rect">
            <a:avLst/>
          </a:prstGeom>
        </p:spPr>
      </p:pic>
      <p:sp>
        <p:nvSpPr>
          <p:cNvPr id="10" name="TextBox 9">
            <a:extLst>
              <a:ext uri="{FF2B5EF4-FFF2-40B4-BE49-F238E27FC236}">
                <a16:creationId xmlns:a16="http://schemas.microsoft.com/office/drawing/2014/main" id="{9A9857C5-F861-9351-7878-5AFCA9501C3C}"/>
              </a:ext>
            </a:extLst>
          </p:cNvPr>
          <p:cNvSpPr txBox="1"/>
          <p:nvPr/>
        </p:nvSpPr>
        <p:spPr>
          <a:xfrm>
            <a:off x="547256" y="4195333"/>
            <a:ext cx="3594257" cy="1015663"/>
          </a:xfrm>
          <a:prstGeom prst="rect">
            <a:avLst/>
          </a:prstGeom>
          <a:noFill/>
        </p:spPr>
        <p:txBody>
          <a:bodyPr wrap="square" rtlCol="0">
            <a:spAutoFit/>
          </a:bodyPr>
          <a:lstStyle/>
          <a:p>
            <a:r>
              <a:rPr lang="en-US" sz="2000" b="1" dirty="0">
                <a:latin typeface="Arial" pitchFamily="34" charset="0"/>
                <a:cs typeface="Arial" pitchFamily="34" charset="0"/>
              </a:rPr>
              <a:t>PREMTB100</a:t>
            </a:r>
          </a:p>
          <a:p>
            <a:r>
              <a:rPr lang="en-US" sz="2000" b="1" dirty="0">
                <a:latin typeface="Arial" pitchFamily="34" charset="0"/>
                <a:cs typeface="Arial" pitchFamily="34" charset="0"/>
              </a:rPr>
              <a:t> (</a:t>
            </a:r>
            <a:r>
              <a:rPr lang="en-US" sz="2000" dirty="0">
                <a:latin typeface="Arial" pitchFamily="34" charset="0"/>
                <a:cs typeface="Arial" pitchFamily="34" charset="0"/>
              </a:rPr>
              <a:t>Firmware update required for English/IP version</a:t>
            </a:r>
            <a:r>
              <a:rPr lang="en-US" sz="2000" b="1" dirty="0">
                <a:latin typeface="Arial" pitchFamily="34" charset="0"/>
                <a:cs typeface="Arial" pitchFamily="34" charset="0"/>
              </a:rPr>
              <a:t>)</a:t>
            </a:r>
            <a:endParaRPr lang="en-US" sz="2000" dirty="0">
              <a:latin typeface="Arial" pitchFamily="34" charset="0"/>
              <a:cs typeface="Arial" pitchFamily="34" charset="0"/>
            </a:endParaRPr>
          </a:p>
        </p:txBody>
      </p:sp>
    </p:spTree>
    <p:extLst>
      <p:ext uri="{BB962C8B-B14F-4D97-AF65-F5344CB8AC3E}">
        <p14:creationId xmlns:p14="http://schemas.microsoft.com/office/powerpoint/2010/main" val="2503950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descr="A picture containing electronics, white&#10;&#10;Description automatically generated">
            <a:extLst>
              <a:ext uri="{FF2B5EF4-FFF2-40B4-BE49-F238E27FC236}">
                <a16:creationId xmlns:a16="http://schemas.microsoft.com/office/drawing/2014/main" id="{1243DB13-5CB5-E137-FE4D-97EC92FA3F0D}"/>
              </a:ext>
            </a:extLst>
          </p:cNvPr>
          <p:cNvPicPr>
            <a:picLocks noChangeAspect="1"/>
          </p:cNvPicPr>
          <p:nvPr/>
        </p:nvPicPr>
        <p:blipFill rotWithShape="1">
          <a:blip r:embed="rId3"/>
          <a:srcRect b="13060"/>
          <a:stretch/>
        </p:blipFill>
        <p:spPr>
          <a:xfrm>
            <a:off x="4775116" y="718165"/>
            <a:ext cx="4583628" cy="3985000"/>
          </a:xfrm>
          <a:prstGeom prst="rect">
            <a:avLst/>
          </a:prstGeom>
        </p:spPr>
      </p:pic>
      <p:sp>
        <p:nvSpPr>
          <p:cNvPr id="41" name="텍스트 개체 틀 1">
            <a:extLst>
              <a:ext uri="{FF2B5EF4-FFF2-40B4-BE49-F238E27FC236}">
                <a16:creationId xmlns:a16="http://schemas.microsoft.com/office/drawing/2014/main" id="{0F549BA9-F16C-393A-1CDC-CB4876F03289}"/>
              </a:ext>
            </a:extLst>
          </p:cNvPr>
          <p:cNvSpPr txBox="1">
            <a:spLocks/>
          </p:cNvSpPr>
          <p:nvPr/>
        </p:nvSpPr>
        <p:spPr>
          <a:xfrm>
            <a:off x="278422" y="64442"/>
            <a:ext cx="9080322" cy="36933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ko-KR" dirty="0"/>
              <a:t>PREMTA201 thermostat (coming in March 2023)</a:t>
            </a:r>
          </a:p>
        </p:txBody>
      </p:sp>
      <p:pic>
        <p:nvPicPr>
          <p:cNvPr id="67" name="Picture 66">
            <a:extLst>
              <a:ext uri="{FF2B5EF4-FFF2-40B4-BE49-F238E27FC236}">
                <a16:creationId xmlns:a16="http://schemas.microsoft.com/office/drawing/2014/main" id="{7A83EFE1-F82A-E46B-9FDA-0D82BA8DEE75}"/>
              </a:ext>
            </a:extLst>
          </p:cNvPr>
          <p:cNvPicPr>
            <a:picLocks noChangeAspect="1"/>
          </p:cNvPicPr>
          <p:nvPr/>
        </p:nvPicPr>
        <p:blipFill>
          <a:blip r:embed="rId4"/>
          <a:stretch>
            <a:fillRect/>
          </a:stretch>
        </p:blipFill>
        <p:spPr>
          <a:xfrm>
            <a:off x="357574" y="1755560"/>
            <a:ext cx="2445906" cy="2359240"/>
          </a:xfrm>
          <a:prstGeom prst="rect">
            <a:avLst/>
          </a:prstGeom>
        </p:spPr>
      </p:pic>
      <p:sp>
        <p:nvSpPr>
          <p:cNvPr id="68" name="TextBox 67">
            <a:extLst>
              <a:ext uri="{FF2B5EF4-FFF2-40B4-BE49-F238E27FC236}">
                <a16:creationId xmlns:a16="http://schemas.microsoft.com/office/drawing/2014/main" id="{0BA90370-41AF-62AB-82BE-5BA63CE4D7B5}"/>
              </a:ext>
            </a:extLst>
          </p:cNvPr>
          <p:cNvSpPr txBox="1"/>
          <p:nvPr/>
        </p:nvSpPr>
        <p:spPr>
          <a:xfrm>
            <a:off x="357575" y="4289654"/>
            <a:ext cx="2347782" cy="707886"/>
          </a:xfrm>
          <a:prstGeom prst="rect">
            <a:avLst/>
          </a:prstGeom>
          <a:noFill/>
        </p:spPr>
        <p:txBody>
          <a:bodyPr wrap="square" rtlCol="0">
            <a:spAutoFit/>
          </a:bodyPr>
          <a:lstStyle/>
          <a:p>
            <a:r>
              <a:rPr lang="en-US" sz="2000" b="1" dirty="0">
                <a:latin typeface="Arial" pitchFamily="34" charset="0"/>
                <a:cs typeface="Arial" pitchFamily="34" charset="0"/>
              </a:rPr>
              <a:t>PREMTA201</a:t>
            </a:r>
            <a:r>
              <a:rPr lang="en-US" sz="2000" dirty="0">
                <a:latin typeface="Arial" pitchFamily="34" charset="0"/>
                <a:cs typeface="Arial" pitchFamily="34" charset="0"/>
              </a:rPr>
              <a:t> </a:t>
            </a:r>
          </a:p>
          <a:p>
            <a:r>
              <a:rPr lang="en-US" sz="2000" dirty="0">
                <a:latin typeface="Arial" pitchFamily="34" charset="0"/>
                <a:cs typeface="Arial" pitchFamily="34" charset="0"/>
              </a:rPr>
              <a:t>(with built in Wi-Fi)</a:t>
            </a:r>
          </a:p>
        </p:txBody>
      </p:sp>
      <p:sp>
        <p:nvSpPr>
          <p:cNvPr id="69" name="TextBox 68">
            <a:extLst>
              <a:ext uri="{FF2B5EF4-FFF2-40B4-BE49-F238E27FC236}">
                <a16:creationId xmlns:a16="http://schemas.microsoft.com/office/drawing/2014/main" id="{A23DA399-0676-0207-5650-5EF4A410B81D}"/>
              </a:ext>
            </a:extLst>
          </p:cNvPr>
          <p:cNvSpPr txBox="1"/>
          <p:nvPr/>
        </p:nvSpPr>
        <p:spPr>
          <a:xfrm>
            <a:off x="6026753" y="4933482"/>
            <a:ext cx="2347783" cy="400110"/>
          </a:xfrm>
          <a:prstGeom prst="rect">
            <a:avLst/>
          </a:prstGeom>
          <a:noFill/>
        </p:spPr>
        <p:txBody>
          <a:bodyPr wrap="square" rtlCol="0">
            <a:spAutoFit/>
          </a:bodyPr>
          <a:lstStyle/>
          <a:p>
            <a:r>
              <a:rPr lang="en-US" sz="2000" b="1" dirty="0">
                <a:latin typeface="Arial" pitchFamily="34" charset="0"/>
                <a:cs typeface="Arial" pitchFamily="34" charset="0"/>
              </a:rPr>
              <a:t>Residential ERV</a:t>
            </a:r>
            <a:endParaRPr lang="en-US" sz="2000" dirty="0">
              <a:latin typeface="Arial" pitchFamily="34" charset="0"/>
              <a:cs typeface="Arial" pitchFamily="34" charset="0"/>
            </a:endParaRPr>
          </a:p>
        </p:txBody>
      </p:sp>
      <p:sp>
        <p:nvSpPr>
          <p:cNvPr id="70" name="Freeform: Shape 69">
            <a:extLst>
              <a:ext uri="{FF2B5EF4-FFF2-40B4-BE49-F238E27FC236}">
                <a16:creationId xmlns:a16="http://schemas.microsoft.com/office/drawing/2014/main" id="{E72EE196-9EC3-324A-3434-D6A3CC298E95}"/>
              </a:ext>
            </a:extLst>
          </p:cNvPr>
          <p:cNvSpPr/>
          <p:nvPr/>
        </p:nvSpPr>
        <p:spPr bwMode="auto">
          <a:xfrm>
            <a:off x="2803480" y="1259604"/>
            <a:ext cx="4917989" cy="1669720"/>
          </a:xfrm>
          <a:custGeom>
            <a:avLst/>
            <a:gdLst>
              <a:gd name="connsiteX0" fmla="*/ 0 w 4917989"/>
              <a:gd name="connsiteY0" fmla="*/ 742963 h 1669720"/>
              <a:gd name="connsiteX1" fmla="*/ 976184 w 4917989"/>
              <a:gd name="connsiteY1" fmla="*/ 1558 h 1669720"/>
              <a:gd name="connsiteX2" fmla="*/ 2236573 w 4917989"/>
              <a:gd name="connsiteY2" fmla="*/ 532898 h 1669720"/>
              <a:gd name="connsiteX3" fmla="*/ 4917989 w 4917989"/>
              <a:gd name="connsiteY3" fmla="*/ 1669720 h 1669720"/>
            </a:gdLst>
            <a:ahLst/>
            <a:cxnLst>
              <a:cxn ang="0">
                <a:pos x="connsiteX0" y="connsiteY0"/>
              </a:cxn>
              <a:cxn ang="0">
                <a:pos x="connsiteX1" y="connsiteY1"/>
              </a:cxn>
              <a:cxn ang="0">
                <a:pos x="connsiteX2" y="connsiteY2"/>
              </a:cxn>
              <a:cxn ang="0">
                <a:pos x="connsiteX3" y="connsiteY3"/>
              </a:cxn>
            </a:cxnLst>
            <a:rect l="l" t="t" r="r" b="b"/>
            <a:pathLst>
              <a:path w="4917989" h="1669720">
                <a:moveTo>
                  <a:pt x="0" y="742963"/>
                </a:moveTo>
                <a:cubicBezTo>
                  <a:pt x="301711" y="389766"/>
                  <a:pt x="603422" y="36569"/>
                  <a:pt x="976184" y="1558"/>
                </a:cubicBezTo>
                <a:cubicBezTo>
                  <a:pt x="1348946" y="-33453"/>
                  <a:pt x="2236573" y="532898"/>
                  <a:pt x="2236573" y="532898"/>
                </a:cubicBezTo>
                <a:lnTo>
                  <a:pt x="4917989" y="1669720"/>
                </a:lnTo>
              </a:path>
            </a:pathLst>
          </a:custGeom>
          <a:ln>
            <a:headEnd/>
            <a:tailEn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579819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그림 45">
            <a:extLst>
              <a:ext uri="{FF2B5EF4-FFF2-40B4-BE49-F238E27FC236}">
                <a16:creationId xmlns:a16="http://schemas.microsoft.com/office/drawing/2014/main" id="{FCFE83E9-7323-414B-B51A-600272B20CA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278624"/>
            <a:ext cx="9906000" cy="6858000"/>
          </a:xfrm>
          <a:prstGeom prst="rect">
            <a:avLst/>
          </a:prstGeom>
        </p:spPr>
      </p:pic>
      <p:sp>
        <p:nvSpPr>
          <p:cNvPr id="3" name="텍스트 개체 틀 2"/>
          <p:cNvSpPr>
            <a:spLocks noGrp="1"/>
          </p:cNvSpPr>
          <p:nvPr>
            <p:ph type="body" sz="quarter" idx="21"/>
          </p:nvPr>
        </p:nvSpPr>
        <p:spPr>
          <a:xfrm>
            <a:off x="278422" y="748127"/>
            <a:ext cx="9342438" cy="246221"/>
          </a:xfrm>
        </p:spPr>
        <p:txBody>
          <a:bodyPr/>
          <a:lstStyle/>
          <a:p>
            <a:r>
              <a:rPr lang="en-US" altLang="ko-KR" dirty="0"/>
              <a:t>Wi-Fi Module PWFMDD200 or PREMTA201 thermostat required for THINQ app </a:t>
            </a:r>
          </a:p>
        </p:txBody>
      </p:sp>
      <p:sp>
        <p:nvSpPr>
          <p:cNvPr id="48" name="타원 47">
            <a:extLst>
              <a:ext uri="{FF2B5EF4-FFF2-40B4-BE49-F238E27FC236}">
                <a16:creationId xmlns:a16="http://schemas.microsoft.com/office/drawing/2014/main" id="{F6480D39-EF50-4A2C-B124-E889CAD79914}"/>
              </a:ext>
            </a:extLst>
          </p:cNvPr>
          <p:cNvSpPr/>
          <p:nvPr/>
        </p:nvSpPr>
        <p:spPr>
          <a:xfrm>
            <a:off x="6197089" y="4156153"/>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49" name="직선 연결선 48">
            <a:extLst>
              <a:ext uri="{FF2B5EF4-FFF2-40B4-BE49-F238E27FC236}">
                <a16:creationId xmlns:a16="http://schemas.microsoft.com/office/drawing/2014/main" id="{9D52FE38-2FAC-44B5-B8D6-EA2243322496}"/>
              </a:ext>
            </a:extLst>
          </p:cNvPr>
          <p:cNvCxnSpPr>
            <a:cxnSpLocks/>
          </p:cNvCxnSpPr>
          <p:nvPr/>
        </p:nvCxnSpPr>
        <p:spPr>
          <a:xfrm>
            <a:off x="2028825" y="2830542"/>
            <a:ext cx="4070223"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0" name="타원 49">
            <a:extLst>
              <a:ext uri="{FF2B5EF4-FFF2-40B4-BE49-F238E27FC236}">
                <a16:creationId xmlns:a16="http://schemas.microsoft.com/office/drawing/2014/main" id="{E29FF70E-D76F-493E-900C-2B4D61AF5BB2}"/>
              </a:ext>
            </a:extLst>
          </p:cNvPr>
          <p:cNvSpPr/>
          <p:nvPr/>
        </p:nvSpPr>
        <p:spPr>
          <a:xfrm>
            <a:off x="1192527" y="1567522"/>
            <a:ext cx="2569848" cy="2569846"/>
          </a:xfrm>
          <a:prstGeom prst="ellipse">
            <a:avLst/>
          </a:prstGeom>
          <a:gradFill flip="none" rotWithShape="1">
            <a:gsLst>
              <a:gs pos="0">
                <a:srgbClr val="F92763">
                  <a:alpha val="50000"/>
                </a:srgbClr>
              </a:gs>
              <a:gs pos="100000">
                <a:srgbClr val="C30037">
                  <a:alpha val="50000"/>
                </a:srgbClr>
              </a:gs>
            </a:gsLst>
            <a:lin ang="5400000" scaled="0"/>
            <a:tileRect/>
          </a:gra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51" name="타원 50">
            <a:extLst>
              <a:ext uri="{FF2B5EF4-FFF2-40B4-BE49-F238E27FC236}">
                <a16:creationId xmlns:a16="http://schemas.microsoft.com/office/drawing/2014/main" id="{1276D5E7-7773-4BEF-B49C-33382CAEE1F9}"/>
              </a:ext>
            </a:extLst>
          </p:cNvPr>
          <p:cNvSpPr/>
          <p:nvPr/>
        </p:nvSpPr>
        <p:spPr>
          <a:xfrm>
            <a:off x="6078217" y="2775409"/>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52" name="직선 연결선 51">
            <a:extLst>
              <a:ext uri="{FF2B5EF4-FFF2-40B4-BE49-F238E27FC236}">
                <a16:creationId xmlns:a16="http://schemas.microsoft.com/office/drawing/2014/main" id="{175FACEB-6B07-4967-81D8-5158DDBFC9EA}"/>
              </a:ext>
            </a:extLst>
          </p:cNvPr>
          <p:cNvCxnSpPr>
            <a:cxnSpLocks/>
          </p:cNvCxnSpPr>
          <p:nvPr/>
        </p:nvCxnSpPr>
        <p:spPr>
          <a:xfrm>
            <a:off x="4919472" y="2830336"/>
            <a:ext cx="0" cy="140016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직선 연결선 52">
            <a:extLst>
              <a:ext uri="{FF2B5EF4-FFF2-40B4-BE49-F238E27FC236}">
                <a16:creationId xmlns:a16="http://schemas.microsoft.com/office/drawing/2014/main" id="{618D7FE4-B696-4905-8F31-622CE925EA33}"/>
              </a:ext>
            </a:extLst>
          </p:cNvPr>
          <p:cNvCxnSpPr>
            <a:cxnSpLocks/>
          </p:cNvCxnSpPr>
          <p:nvPr/>
        </p:nvCxnSpPr>
        <p:spPr>
          <a:xfrm>
            <a:off x="4905375" y="4220430"/>
            <a:ext cx="1321689"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7" name="타원 56">
            <a:extLst>
              <a:ext uri="{FF2B5EF4-FFF2-40B4-BE49-F238E27FC236}">
                <a16:creationId xmlns:a16="http://schemas.microsoft.com/office/drawing/2014/main" id="{1B3910CB-ED16-4624-A564-C7272B375D35}"/>
              </a:ext>
            </a:extLst>
          </p:cNvPr>
          <p:cNvSpPr/>
          <p:nvPr/>
        </p:nvSpPr>
        <p:spPr>
          <a:xfrm>
            <a:off x="1341017" y="1716012"/>
            <a:ext cx="2272869" cy="2272867"/>
          </a:xfrm>
          <a:prstGeom prst="ellipse">
            <a:avLst/>
          </a:prstGeom>
          <a:solidFill>
            <a:srgbClr val="C30037"/>
          </a:solidFill>
          <a:ln w="12700" cap="flat" cmpd="sng" algn="ctr">
            <a:noFill/>
            <a:prstDash val="solid"/>
            <a:miter lim="800000"/>
          </a:ln>
          <a:effectLst/>
        </p:spPr>
        <p:txBody>
          <a:bodyPr rtlCol="0" anchor="ctr"/>
          <a:lstStyle/>
          <a:p>
            <a:pPr algn="ctr" defTabSz="914400"/>
            <a:endParaRPr lang="ko-KR" altLang="en-US" kern="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
        <p:nvSpPr>
          <p:cNvPr id="58" name="TextBox 2">
            <a:extLst>
              <a:ext uri="{FF2B5EF4-FFF2-40B4-BE49-F238E27FC236}">
                <a16:creationId xmlns:a16="http://schemas.microsoft.com/office/drawing/2014/main" id="{910F826C-595B-4F84-B8F1-F4DADE8CFEF4}"/>
              </a:ext>
            </a:extLst>
          </p:cNvPr>
          <p:cNvSpPr txBox="1"/>
          <p:nvPr/>
        </p:nvSpPr>
        <p:spPr>
          <a:xfrm>
            <a:off x="1537427" y="2659365"/>
            <a:ext cx="1880050" cy="923330"/>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Dual Laser </a:t>
            </a:r>
          </a:p>
          <a:p>
            <a:pPr marL="0" marR="0" lvl="0" indent="0" algn="ctr" defTabSz="457200" rtl="0" eaLnBrk="1" fontAlgn="auto" latinLnBrk="0" hangingPunct="1">
              <a:lnSpc>
                <a:spcPct val="100000"/>
              </a:lnSpc>
              <a:spcBef>
                <a:spcPts val="0"/>
              </a:spcBef>
              <a:spcAft>
                <a:spcPts val="0"/>
              </a:spcAft>
              <a:buClrTx/>
              <a:buSzTx/>
              <a:buFontTx/>
              <a:buNone/>
              <a:tabLst/>
              <a:defRPr/>
            </a:pP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F</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ine </a:t>
            </a: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D</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ust</a:t>
            </a:r>
          </a:p>
          <a:p>
            <a:pPr marL="0" marR="0" lvl="0" indent="0" algn="ctr" defTabSz="457200" rtl="0" eaLnBrk="1" fontAlgn="auto" latinLnBrk="0" hangingPunct="1">
              <a:lnSpc>
                <a:spcPct val="100000"/>
              </a:lnSpc>
              <a:spcBef>
                <a:spcPts val="0"/>
              </a:spcBef>
              <a:spcAft>
                <a:spcPts val="0"/>
              </a:spcAft>
              <a:buClrTx/>
              <a:buSzTx/>
              <a:buFontTx/>
              <a:buNone/>
              <a:tabLst/>
              <a:defRPr/>
            </a:pPr>
            <a:r>
              <a:rPr lang="it-IT" altLang="ko-KR" spc="-50" dirty="0">
                <a:ln>
                  <a:solidFill>
                    <a:srgbClr val="4472C4">
                      <a:alpha val="0"/>
                    </a:srgbClr>
                  </a:solidFill>
                </a:ln>
                <a:solidFill>
                  <a:prstClr val="white"/>
                </a:solidFill>
                <a:latin typeface="Arial" panose="020B0604020202020204" pitchFamily="34" charset="0"/>
                <a:ea typeface="LG스마트체 Regular" panose="020B0600000101010101" pitchFamily="50" charset="-127"/>
                <a:cs typeface="Arial" panose="020B0604020202020204" pitchFamily="34" charset="0"/>
              </a:rPr>
              <a:t>PM1.0 S</a:t>
            </a:r>
            <a:r>
              <a:rPr kumimoji="0" lang="it-IT" altLang="ko-KR" sz="18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Regular" panose="020B0600000101010101" pitchFamily="50" charset="-127"/>
                <a:cs typeface="Arial" panose="020B0604020202020204" pitchFamily="34" charset="0"/>
              </a:rPr>
              <a:t>ensor</a:t>
            </a:r>
            <a:endParaRPr kumimoji="0" lang="ko-KR" altLang="en-US" sz="2000" b="0" i="0" u="none" strike="noStrike" kern="1200" cap="none" spc="-50" normalizeH="0" baseline="0" noProof="0" dirty="0">
              <a:ln>
                <a:solidFill>
                  <a:srgbClr val="4472C4">
                    <a:alpha val="0"/>
                  </a:srgbClr>
                </a:solidFill>
              </a:ln>
              <a:solidFill>
                <a:prstClr val="white"/>
              </a:solidFill>
              <a:effectLst/>
              <a:uLnTx/>
              <a:uFillTx/>
              <a:latin typeface="Arial" panose="020B0604020202020204" pitchFamily="34" charset="0"/>
              <a:ea typeface="LG스마트체 Bold" panose="020B0600000101010101" pitchFamily="50" charset="-127"/>
              <a:cs typeface="Arial" panose="020B0604020202020204" pitchFamily="34" charset="0"/>
            </a:endParaRPr>
          </a:p>
        </p:txBody>
      </p:sp>
      <p:pic>
        <p:nvPicPr>
          <p:cNvPr id="59" name="그래픽 50">
            <a:extLst>
              <a:ext uri="{FF2B5EF4-FFF2-40B4-BE49-F238E27FC236}">
                <a16:creationId xmlns:a16="http://schemas.microsoft.com/office/drawing/2014/main" id="{5F2B189E-5057-4072-804D-FAA1547B730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92022" y="2074416"/>
            <a:ext cx="672475" cy="596056"/>
          </a:xfrm>
          <a:prstGeom prst="rect">
            <a:avLst/>
          </a:prstGeom>
        </p:spPr>
      </p:pic>
      <p:sp>
        <p:nvSpPr>
          <p:cNvPr id="47" name="TextBox 46">
            <a:extLst>
              <a:ext uri="{FF2B5EF4-FFF2-40B4-BE49-F238E27FC236}">
                <a16:creationId xmlns:a16="http://schemas.microsoft.com/office/drawing/2014/main" id="{19DAEAEB-1639-4BF7-B830-0351305395EE}"/>
              </a:ext>
            </a:extLst>
          </p:cNvPr>
          <p:cNvSpPr txBox="1"/>
          <p:nvPr/>
        </p:nvSpPr>
        <p:spPr>
          <a:xfrm>
            <a:off x="678208" y="4680891"/>
            <a:ext cx="3498713" cy="757130"/>
          </a:xfrm>
          <a:prstGeom prst="rect">
            <a:avLst/>
          </a:prstGeom>
          <a:noFill/>
        </p:spPr>
        <p:txBody>
          <a:bodyPr wrap="square">
            <a:spAutoFit/>
          </a:bodyPr>
          <a:lstStyle/>
          <a:p>
            <a:pPr marL="0" marR="0" lvl="0" indent="0" defTabSz="457200" rtl="0" eaLnBrk="1" fontAlgn="auto" latinLnBrk="0" hangingPunct="1">
              <a:lnSpc>
                <a:spcPct val="120000"/>
              </a:lnSpc>
              <a:spcBef>
                <a:spcPts val="0"/>
              </a:spcBef>
              <a:spcAft>
                <a:spcPts val="0"/>
              </a:spcAft>
              <a:buClrTx/>
              <a:buSzTx/>
              <a:buFontTx/>
              <a:buNone/>
              <a:tabLst/>
              <a:defRPr/>
            </a:pP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When the concentration of fine dust in the air supplied to the room rises above </a:t>
            </a:r>
            <a:r>
              <a:rPr lang="en-US" altLang="ko-KR" sz="12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the setting</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standard,</a:t>
            </a:r>
            <a:r>
              <a:rPr kumimoji="0" lang="en-US" altLang="ko-KR" sz="1200" b="0" i="0" u="none" strike="noStrike" kern="1200" cap="none" spc="-50" normalizeH="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 the </a:t>
            </a:r>
            <a:r>
              <a:rPr kumimoji="0" lang="en-US" altLang="ko-KR" sz="1200" b="0" i="0" u="none" strike="noStrike" kern="1200" cap="none" spc="-50" normalizeH="0" baseline="0" noProof="0" dirty="0">
                <a:ln>
                  <a:solidFill>
                    <a:srgbClr val="A50034">
                      <a:alpha val="0"/>
                    </a:srgbClr>
                  </a:solidFill>
                </a:ln>
                <a:solidFill>
                  <a:prstClr val="black"/>
                </a:solidFill>
                <a:effectLst/>
                <a:uLnTx/>
                <a:uFillTx/>
                <a:latin typeface="Arial" panose="020B0604020202020204" pitchFamily="34" charset="0"/>
                <a:ea typeface="LG스마트체 Regular" panose="020B0600000101010101" pitchFamily="50" charset="-127"/>
                <a:cs typeface="Arial" panose="020B0604020202020204" pitchFamily="34" charset="0"/>
              </a:rPr>
              <a:t>filter replacement notification is displayed.</a:t>
            </a:r>
          </a:p>
        </p:txBody>
      </p:sp>
      <p:sp>
        <p:nvSpPr>
          <p:cNvPr id="27" name="TextBox 26">
            <a:extLst>
              <a:ext uri="{FF2B5EF4-FFF2-40B4-BE49-F238E27FC236}">
                <a16:creationId xmlns:a16="http://schemas.microsoft.com/office/drawing/2014/main" id="{19DAEAEB-1639-4BF7-B830-0351305395EE}"/>
              </a:ext>
            </a:extLst>
          </p:cNvPr>
          <p:cNvSpPr txBox="1"/>
          <p:nvPr/>
        </p:nvSpPr>
        <p:spPr>
          <a:xfrm>
            <a:off x="78171" y="6537903"/>
            <a:ext cx="3734663" cy="260008"/>
          </a:xfrm>
          <a:prstGeom prst="rect">
            <a:avLst/>
          </a:prstGeom>
          <a:noFill/>
        </p:spPr>
        <p:txBody>
          <a:bodyPr wrap="square">
            <a:spAutoFit/>
          </a:bodyPr>
          <a:lstStyle/>
          <a:p>
            <a:pPr lvl="0">
              <a:lnSpc>
                <a:spcPct val="120000"/>
              </a:lnSpc>
              <a:defRPr/>
            </a:pPr>
            <a:r>
              <a:rPr lang="en-US" altLang="ko-KR" sz="10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PM1.0 sensor are embedded</a:t>
            </a:r>
          </a:p>
        </p:txBody>
      </p:sp>
      <p:sp>
        <p:nvSpPr>
          <p:cNvPr id="30" name="직사각형 29"/>
          <p:cNvSpPr/>
          <p:nvPr/>
        </p:nvSpPr>
        <p:spPr>
          <a:xfrm>
            <a:off x="8169474" y="2772009"/>
            <a:ext cx="936425" cy="199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TextBox 30"/>
          <p:cNvSpPr txBox="1"/>
          <p:nvPr/>
        </p:nvSpPr>
        <p:spPr>
          <a:xfrm>
            <a:off x="8083136" y="2750166"/>
            <a:ext cx="1072730" cy="230832"/>
          </a:xfrm>
          <a:prstGeom prst="rect">
            <a:avLst/>
          </a:prstGeom>
          <a:noFill/>
        </p:spPr>
        <p:txBody>
          <a:bodyPr wrap="none" rtlCol="0">
            <a:spAutoFit/>
          </a:bodyPr>
          <a:lstStyle/>
          <a:p>
            <a:r>
              <a:rPr lang="en-US" altLang="ko-KR" sz="900" dirty="0">
                <a:latin typeface="LG스마트체 Bold" panose="020B0600000101010101" pitchFamily="50" charset="-127"/>
                <a:ea typeface="LG스마트체 Bold" panose="020B0600000101010101" pitchFamily="50" charset="-127"/>
                <a:cs typeface="Arial" panose="020B0604020202020204" pitchFamily="34" charset="0"/>
              </a:rPr>
              <a:t>Air Quality Level</a:t>
            </a:r>
            <a:endParaRPr lang="ko-KR" altLang="en-US" sz="900">
              <a:latin typeface="LG스마트체 Bold" panose="020B0600000101010101" pitchFamily="50" charset="-127"/>
              <a:ea typeface="LG스마트체 Bold" panose="020B0600000101010101" pitchFamily="50" charset="-127"/>
              <a:cs typeface="Arial" panose="020B0604020202020204" pitchFamily="34" charset="0"/>
            </a:endParaRPr>
          </a:p>
        </p:txBody>
      </p:sp>
      <p:sp>
        <p:nvSpPr>
          <p:cNvPr id="32" name="타원 31">
            <a:extLst>
              <a:ext uri="{FF2B5EF4-FFF2-40B4-BE49-F238E27FC236}">
                <a16:creationId xmlns:a16="http://schemas.microsoft.com/office/drawing/2014/main" id="{F6480D39-EF50-4A2C-B124-E889CAD79914}"/>
              </a:ext>
            </a:extLst>
          </p:cNvPr>
          <p:cNvSpPr/>
          <p:nvPr/>
        </p:nvSpPr>
        <p:spPr>
          <a:xfrm>
            <a:off x="6197089" y="4156153"/>
            <a:ext cx="128555" cy="1285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panose="020B0604020202020204" pitchFamily="34" charset="0"/>
              <a:ea typeface="LG스마트체 Light" panose="020B0600000101010101" pitchFamily="50" charset="-127"/>
              <a:cs typeface="Arial" panose="020B0604020202020204" pitchFamily="34" charset="0"/>
            </a:endParaRPr>
          </a:p>
        </p:txBody>
      </p:sp>
      <p:cxnSp>
        <p:nvCxnSpPr>
          <p:cNvPr id="33" name="직선 연결선 32">
            <a:extLst>
              <a:ext uri="{FF2B5EF4-FFF2-40B4-BE49-F238E27FC236}">
                <a16:creationId xmlns:a16="http://schemas.microsoft.com/office/drawing/2014/main" id="{618D7FE4-B696-4905-8F31-622CE925EA33}"/>
              </a:ext>
            </a:extLst>
          </p:cNvPr>
          <p:cNvCxnSpPr>
            <a:cxnSpLocks/>
          </p:cNvCxnSpPr>
          <p:nvPr/>
        </p:nvCxnSpPr>
        <p:spPr>
          <a:xfrm>
            <a:off x="4905375" y="4220430"/>
            <a:ext cx="1321689" cy="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5" name="TextBox 34">
            <a:extLst>
              <a:ext uri="{FF2B5EF4-FFF2-40B4-BE49-F238E27FC236}">
                <a16:creationId xmlns:a16="http://schemas.microsoft.com/office/drawing/2014/main" id="{19DAEAEB-1639-4BF7-B830-0351305395EE}"/>
              </a:ext>
            </a:extLst>
          </p:cNvPr>
          <p:cNvSpPr txBox="1"/>
          <p:nvPr/>
        </p:nvSpPr>
        <p:spPr>
          <a:xfrm>
            <a:off x="78171" y="6277719"/>
            <a:ext cx="3734663" cy="260008"/>
          </a:xfrm>
          <a:prstGeom prst="rect">
            <a:avLst/>
          </a:prstGeom>
          <a:noFill/>
        </p:spPr>
        <p:txBody>
          <a:bodyPr wrap="square">
            <a:spAutoFit/>
          </a:bodyPr>
          <a:lstStyle/>
          <a:p>
            <a:pPr lvl="0">
              <a:lnSpc>
                <a:spcPct val="120000"/>
              </a:lnSpc>
              <a:defRPr/>
            </a:pPr>
            <a:r>
              <a:rPr lang="en-US" altLang="ko-KR" sz="1000" spc="-50" dirty="0">
                <a:ln>
                  <a:solidFill>
                    <a:srgbClr val="A50034">
                      <a:alpha val="0"/>
                    </a:srgbClr>
                  </a:solidFill>
                </a:ln>
                <a:solidFill>
                  <a:prstClr val="black"/>
                </a:solidFill>
                <a:latin typeface="Arial" panose="020B0604020202020204" pitchFamily="34" charset="0"/>
                <a:ea typeface="LG스마트체 Regular" panose="020B0600000101010101" pitchFamily="50" charset="-127"/>
                <a:cs typeface="Arial" panose="020B0604020202020204" pitchFamily="34" charset="0"/>
              </a:rPr>
              <a:t>* Wi-Fi module is  optional.</a:t>
            </a:r>
          </a:p>
        </p:txBody>
      </p:sp>
      <p:grpSp>
        <p:nvGrpSpPr>
          <p:cNvPr id="4" name="그룹 3"/>
          <p:cNvGrpSpPr/>
          <p:nvPr/>
        </p:nvGrpSpPr>
        <p:grpSpPr>
          <a:xfrm>
            <a:off x="7547162" y="2528019"/>
            <a:ext cx="2683509" cy="4333839"/>
            <a:chOff x="7547162" y="2528019"/>
            <a:chExt cx="2683509" cy="4333839"/>
          </a:xfrm>
        </p:grpSpPr>
        <p:pic>
          <p:nvPicPr>
            <p:cNvPr id="28" name="그림 27">
              <a:extLst>
                <a:ext uri="{FF2B5EF4-FFF2-40B4-BE49-F238E27FC236}">
                  <a16:creationId xmlns:a16="http://schemas.microsoft.com/office/drawing/2014/main" id="{D81F03A8-FB9D-477A-8404-5FD1A09F9234}"/>
                </a:ext>
              </a:extLst>
            </p:cNvPr>
            <p:cNvPicPr>
              <a:picLocks noChangeAspect="1"/>
            </p:cNvPicPr>
            <p:nvPr/>
          </p:nvPicPr>
          <p:blipFill rotWithShape="1">
            <a:blip r:embed="rId6">
              <a:extLst>
                <a:ext uri="{28A0092B-C50C-407E-A947-70E740481C1C}">
                  <a14:useLocalDpi xmlns:a14="http://schemas.microsoft.com/office/drawing/2010/main" val="0"/>
                </a:ext>
              </a:extLst>
            </a:blip>
            <a:srcRect l="3312" t="1" r="18220" b="22173"/>
            <a:stretch/>
          </p:blipFill>
          <p:spPr>
            <a:xfrm>
              <a:off x="7547162" y="2528019"/>
              <a:ext cx="2683509" cy="4333839"/>
            </a:xfrm>
            <a:prstGeom prst="rect">
              <a:avLst/>
            </a:prstGeom>
          </p:spPr>
        </p:pic>
        <p:grpSp>
          <p:nvGrpSpPr>
            <p:cNvPr id="61" name="그룹 60"/>
            <p:cNvGrpSpPr/>
            <p:nvPr/>
          </p:nvGrpSpPr>
          <p:grpSpPr>
            <a:xfrm>
              <a:off x="8001061" y="2990849"/>
              <a:ext cx="1512000" cy="2810171"/>
              <a:chOff x="10441434" y="2990849"/>
              <a:chExt cx="1512000" cy="2810171"/>
            </a:xfrm>
          </p:grpSpPr>
          <p:pic>
            <p:nvPicPr>
              <p:cNvPr id="62" name="그림 61"/>
              <p:cNvPicPr>
                <a:picLocks noChangeAspect="1"/>
              </p:cNvPicPr>
              <p:nvPr/>
            </p:nvPicPr>
            <p:blipFill rotWithShape="1">
              <a:blip r:embed="rId7">
                <a:extLst>
                  <a:ext uri="{28A0092B-C50C-407E-A947-70E740481C1C}">
                    <a14:useLocalDpi xmlns:a14="http://schemas.microsoft.com/office/drawing/2010/main" val="0"/>
                  </a:ext>
                </a:extLst>
              </a:blip>
              <a:srcRect t="10242" b="6123"/>
              <a:stretch/>
            </p:blipFill>
            <p:spPr>
              <a:xfrm>
                <a:off x="10441434" y="2990849"/>
                <a:ext cx="1512000" cy="2810171"/>
              </a:xfrm>
              <a:prstGeom prst="rect">
                <a:avLst/>
              </a:prstGeom>
            </p:spPr>
          </p:pic>
          <p:pic>
            <p:nvPicPr>
              <p:cNvPr id="63" name="그림 62"/>
              <p:cNvPicPr>
                <a:picLocks noChangeAspect="1"/>
              </p:cNvPicPr>
              <p:nvPr/>
            </p:nvPicPr>
            <p:blipFill rotWithShape="1">
              <a:blip r:embed="rId8"/>
              <a:srcRect t="2" r="16027" b="12907"/>
              <a:stretch/>
            </p:blipFill>
            <p:spPr>
              <a:xfrm>
                <a:off x="11515967" y="4156153"/>
                <a:ext cx="86010" cy="75328"/>
              </a:xfrm>
              <a:prstGeom prst="rect">
                <a:avLst/>
              </a:prstGeom>
            </p:spPr>
          </p:pic>
          <p:pic>
            <p:nvPicPr>
              <p:cNvPr id="64" name="그림 63"/>
              <p:cNvPicPr>
                <a:picLocks noChangeAspect="1"/>
              </p:cNvPicPr>
              <p:nvPr/>
            </p:nvPicPr>
            <p:blipFill rotWithShape="1">
              <a:blip r:embed="rId9"/>
              <a:srcRect l="1" t="-1" r="12694" b="13641"/>
              <a:stretch/>
            </p:blipFill>
            <p:spPr>
              <a:xfrm>
                <a:off x="11532639" y="3918488"/>
                <a:ext cx="68659" cy="70106"/>
              </a:xfrm>
              <a:prstGeom prst="rect">
                <a:avLst/>
              </a:prstGeom>
            </p:spPr>
          </p:pic>
          <p:sp>
            <p:nvSpPr>
              <p:cNvPr id="65" name="타원 64"/>
              <p:cNvSpPr/>
              <p:nvPr/>
            </p:nvSpPr>
            <p:spPr>
              <a:xfrm>
                <a:off x="11510075" y="3838793"/>
                <a:ext cx="43200" cy="43200"/>
              </a:xfrm>
              <a:prstGeom prst="ellipse">
                <a:avLst/>
              </a:prstGeom>
              <a:solidFill>
                <a:srgbClr val="EBB2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6" name="그림 65"/>
              <p:cNvPicPr>
                <a:picLocks noChangeAspect="1"/>
              </p:cNvPicPr>
              <p:nvPr/>
            </p:nvPicPr>
            <p:blipFill>
              <a:blip r:embed="rId10"/>
              <a:stretch>
                <a:fillRect/>
              </a:stretch>
            </p:blipFill>
            <p:spPr>
              <a:xfrm>
                <a:off x="11562803" y="3818461"/>
                <a:ext cx="304027" cy="88124"/>
              </a:xfrm>
              <a:prstGeom prst="rect">
                <a:avLst/>
              </a:prstGeom>
            </p:spPr>
          </p:pic>
        </p:grpSp>
      </p:grpSp>
      <p:sp>
        <p:nvSpPr>
          <p:cNvPr id="41" name="텍스트 개체 틀 1">
            <a:extLst>
              <a:ext uri="{FF2B5EF4-FFF2-40B4-BE49-F238E27FC236}">
                <a16:creationId xmlns:a16="http://schemas.microsoft.com/office/drawing/2014/main" id="{0F549BA9-F16C-393A-1CDC-CB4876F03289}"/>
              </a:ext>
            </a:extLst>
          </p:cNvPr>
          <p:cNvSpPr txBox="1">
            <a:spLocks/>
          </p:cNvSpPr>
          <p:nvPr/>
        </p:nvSpPr>
        <p:spPr>
          <a:xfrm>
            <a:off x="278422" y="64442"/>
            <a:ext cx="9080322" cy="36933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ko-KR" dirty="0"/>
              <a:t>THINQ App (update coming in 2023)</a:t>
            </a:r>
          </a:p>
        </p:txBody>
      </p:sp>
      <p:pic>
        <p:nvPicPr>
          <p:cNvPr id="12" name="Picture 11">
            <a:extLst>
              <a:ext uri="{FF2B5EF4-FFF2-40B4-BE49-F238E27FC236}">
                <a16:creationId xmlns:a16="http://schemas.microsoft.com/office/drawing/2014/main" id="{D1E04BD5-9865-A277-79C3-4506A04C47A7}"/>
              </a:ext>
            </a:extLst>
          </p:cNvPr>
          <p:cNvPicPr>
            <a:picLocks noChangeAspect="1"/>
          </p:cNvPicPr>
          <p:nvPr/>
        </p:nvPicPr>
        <p:blipFill>
          <a:blip r:embed="rId11"/>
          <a:stretch>
            <a:fillRect/>
          </a:stretch>
        </p:blipFill>
        <p:spPr>
          <a:xfrm>
            <a:off x="7824645" y="633584"/>
            <a:ext cx="1802933" cy="1218198"/>
          </a:xfrm>
          <a:prstGeom prst="rect">
            <a:avLst/>
          </a:prstGeom>
        </p:spPr>
      </p:pic>
    </p:spTree>
    <p:extLst>
      <p:ext uri="{BB962C8B-B14F-4D97-AF65-F5344CB8AC3E}">
        <p14:creationId xmlns:p14="http://schemas.microsoft.com/office/powerpoint/2010/main" val="3402964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Filter Maintenance Alarm</a:t>
            </a:r>
          </a:p>
        </p:txBody>
      </p:sp>
      <p:sp>
        <p:nvSpPr>
          <p:cNvPr id="6" name="텍스트 개체 틀 5"/>
          <p:cNvSpPr>
            <a:spLocks noGrp="1"/>
          </p:cNvSpPr>
          <p:nvPr>
            <p:ph type="body" sz="quarter" idx="20"/>
          </p:nvPr>
        </p:nvSpPr>
        <p:spPr/>
        <p:txBody>
          <a:bodyPr/>
          <a:lstStyle/>
          <a:p>
            <a:r>
              <a:rPr lang="en-US" altLang="ko-KR" dirty="0"/>
              <a:t>Convenience</a:t>
            </a:r>
          </a:p>
        </p:txBody>
      </p:sp>
      <p:sp>
        <p:nvSpPr>
          <p:cNvPr id="3" name="텍스트 개체 틀 2"/>
          <p:cNvSpPr>
            <a:spLocks noGrp="1"/>
          </p:cNvSpPr>
          <p:nvPr>
            <p:ph type="body" sz="quarter" idx="21"/>
          </p:nvPr>
        </p:nvSpPr>
        <p:spPr>
          <a:xfrm>
            <a:off x="278422" y="748127"/>
            <a:ext cx="9342438" cy="738664"/>
          </a:xfrm>
        </p:spPr>
        <p:txBody>
          <a:bodyPr/>
          <a:lstStyle/>
          <a:p>
            <a:r>
              <a:rPr lang="en-US" altLang="ko-KR" b="1" i="1" dirty="0">
                <a:solidFill>
                  <a:srgbClr val="C00000"/>
                </a:solidFill>
              </a:rPr>
              <a:t>Two laser sensors located front and back of the fine dust filter </a:t>
            </a:r>
            <a:r>
              <a:rPr lang="en-US" altLang="ko-KR" dirty="0"/>
              <a:t>measure the concentration of fine dust in the air supplied to the room. If it is higher than the set standard, it is judged that the life of the filter is over, and a filter replacement notification and text message are sent.</a:t>
            </a:r>
          </a:p>
        </p:txBody>
      </p:sp>
      <p:pic>
        <p:nvPicPr>
          <p:cNvPr id="40" name="그림 39">
            <a:extLst>
              <a:ext uri="{FF2B5EF4-FFF2-40B4-BE49-F238E27FC236}">
                <a16:creationId xmlns:a16="http://schemas.microsoft.com/office/drawing/2014/main" id="{267CC2F8-D6AF-4C9D-ADD5-7CA1B546E644}"/>
              </a:ext>
            </a:extLst>
          </p:cNvPr>
          <p:cNvPicPr>
            <a:picLocks noChangeAspect="1"/>
          </p:cNvPicPr>
          <p:nvPr/>
        </p:nvPicPr>
        <p:blipFill>
          <a:blip r:embed="rId3"/>
          <a:srcRect/>
          <a:stretch/>
        </p:blipFill>
        <p:spPr>
          <a:xfrm>
            <a:off x="1569136" y="3142046"/>
            <a:ext cx="1285105" cy="1285105"/>
          </a:xfrm>
          <a:prstGeom prst="rect">
            <a:avLst/>
          </a:prstGeom>
        </p:spPr>
      </p:pic>
      <p:pic>
        <p:nvPicPr>
          <p:cNvPr id="41" name="그림 40">
            <a:extLst>
              <a:ext uri="{FF2B5EF4-FFF2-40B4-BE49-F238E27FC236}">
                <a16:creationId xmlns:a16="http://schemas.microsoft.com/office/drawing/2014/main" id="{BB2D4650-5D52-427B-B2D9-065BC3509B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13202" y="2351419"/>
            <a:ext cx="404294" cy="345606"/>
          </a:xfrm>
          <a:prstGeom prst="rect">
            <a:avLst/>
          </a:prstGeom>
        </p:spPr>
      </p:pic>
      <p:grpSp>
        <p:nvGrpSpPr>
          <p:cNvPr id="42" name="그룹 41">
            <a:extLst>
              <a:ext uri="{FF2B5EF4-FFF2-40B4-BE49-F238E27FC236}">
                <a16:creationId xmlns:a16="http://schemas.microsoft.com/office/drawing/2014/main" id="{A64DAEBF-BC8C-463E-A49E-D364BCD517D7}"/>
              </a:ext>
            </a:extLst>
          </p:cNvPr>
          <p:cNvGrpSpPr/>
          <p:nvPr/>
        </p:nvGrpSpPr>
        <p:grpSpPr>
          <a:xfrm rot="19800000">
            <a:off x="1855860" y="3911433"/>
            <a:ext cx="1966809" cy="2387894"/>
            <a:chOff x="2833792" y="3550469"/>
            <a:chExt cx="1966809" cy="2387894"/>
          </a:xfrm>
        </p:grpSpPr>
        <p:sp>
          <p:nvSpPr>
            <p:cNvPr id="43" name="이등변 삼각형 42">
              <a:extLst>
                <a:ext uri="{FF2B5EF4-FFF2-40B4-BE49-F238E27FC236}">
                  <a16:creationId xmlns:a16="http://schemas.microsoft.com/office/drawing/2014/main" id="{C9109D2A-3031-47B8-B2D0-B3A535863650}"/>
                </a:ext>
              </a:extLst>
            </p:cNvPr>
            <p:cNvSpPr/>
            <p:nvPr/>
          </p:nvSpPr>
          <p:spPr>
            <a:xfrm rot="20592406">
              <a:off x="2833792" y="3550469"/>
              <a:ext cx="1571326" cy="1072064"/>
            </a:xfrm>
            <a:prstGeom prst="triangle">
              <a:avLst>
                <a:gd name="adj" fmla="val 69211"/>
              </a:avLst>
            </a:prstGeom>
            <a:gradFill>
              <a:gsLst>
                <a:gs pos="1000">
                  <a:schemeClr val="bg1">
                    <a:lumMod val="75000"/>
                    <a:alpha val="0"/>
                  </a:schemeClr>
                </a:gs>
                <a:gs pos="100000">
                  <a:schemeClr val="tx1">
                    <a:lumMod val="75000"/>
                    <a:lumOff val="2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panose="020B0604020202020204" pitchFamily="34" charset="0"/>
                <a:ea typeface="LG스마트체2.0 SemiBold" panose="020B0600000101010101" pitchFamily="50" charset="-127"/>
                <a:cs typeface="Arial" panose="020B0604020202020204" pitchFamily="34" charset="0"/>
              </a:endParaRPr>
            </a:p>
          </p:txBody>
        </p:sp>
        <p:grpSp>
          <p:nvGrpSpPr>
            <p:cNvPr id="44" name="그룹 43">
              <a:extLst>
                <a:ext uri="{FF2B5EF4-FFF2-40B4-BE49-F238E27FC236}">
                  <a16:creationId xmlns:a16="http://schemas.microsoft.com/office/drawing/2014/main" id="{C351D942-C6B0-4169-934F-C774A61D0CD0}"/>
                </a:ext>
              </a:extLst>
            </p:cNvPr>
            <p:cNvGrpSpPr/>
            <p:nvPr/>
          </p:nvGrpSpPr>
          <p:grpSpPr>
            <a:xfrm>
              <a:off x="3014499" y="4152263"/>
              <a:ext cx="1786102" cy="1786100"/>
              <a:chOff x="567624" y="4173651"/>
              <a:chExt cx="1585627" cy="1585625"/>
            </a:xfrm>
          </p:grpSpPr>
          <p:sp>
            <p:nvSpPr>
              <p:cNvPr id="45" name="타원 44">
                <a:extLst>
                  <a:ext uri="{FF2B5EF4-FFF2-40B4-BE49-F238E27FC236}">
                    <a16:creationId xmlns:a16="http://schemas.microsoft.com/office/drawing/2014/main" id="{882C5C5F-25F6-430D-B87B-DBA8E2A2D67C}"/>
                  </a:ext>
                </a:extLst>
              </p:cNvPr>
              <p:cNvSpPr/>
              <p:nvPr/>
            </p:nvSpPr>
            <p:spPr>
              <a:xfrm>
                <a:off x="567624" y="4173651"/>
                <a:ext cx="1585627" cy="1585625"/>
              </a:xfrm>
              <a:prstGeom prst="ellipse">
                <a:avLst/>
              </a:prstGeom>
              <a:solidFill>
                <a:schemeClr val="bg1"/>
              </a:solidFill>
              <a:ln w="38100">
                <a:gradFill>
                  <a:gsLst>
                    <a:gs pos="0">
                      <a:srgbClr val="C30037"/>
                    </a:gs>
                    <a:gs pos="100000">
                      <a:srgbClr val="F92763"/>
                    </a:gs>
                  </a:gsLst>
                  <a:lin ang="5400000" scaled="1"/>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pic>
            <p:nvPicPr>
              <p:cNvPr id="51" name="그림 50">
                <a:extLst>
                  <a:ext uri="{FF2B5EF4-FFF2-40B4-BE49-F238E27FC236}">
                    <a16:creationId xmlns:a16="http://schemas.microsoft.com/office/drawing/2014/main" id="{97262C5E-F173-4E8C-8A34-CA5082E234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7006" y="4193032"/>
                <a:ext cx="1546860" cy="1546860"/>
              </a:xfrm>
              <a:prstGeom prst="rect">
                <a:avLst/>
              </a:prstGeom>
              <a:noFill/>
            </p:spPr>
          </p:pic>
        </p:grpSp>
      </p:grpSp>
      <p:sp>
        <p:nvSpPr>
          <p:cNvPr id="52" name="TextBox 2">
            <a:extLst>
              <a:ext uri="{FF2B5EF4-FFF2-40B4-BE49-F238E27FC236}">
                <a16:creationId xmlns:a16="http://schemas.microsoft.com/office/drawing/2014/main" id="{86317DBC-CA1F-4297-B2D9-73029D324792}"/>
              </a:ext>
            </a:extLst>
          </p:cNvPr>
          <p:cNvSpPr txBox="1"/>
          <p:nvPr/>
        </p:nvSpPr>
        <p:spPr>
          <a:xfrm>
            <a:off x="1500524" y="2560624"/>
            <a:ext cx="2427840" cy="523220"/>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400" b="1" i="1" dirty="0">
                <a:solidFill>
                  <a:srgbClr val="C00000"/>
                </a:solidFill>
                <a:latin typeface="Arial" panose="020B0604020202020204" pitchFamily="34" charset="0"/>
                <a:cs typeface="Arial" panose="020B0604020202020204" pitchFamily="34" charset="0"/>
              </a:rPr>
              <a:t>When the filter should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ko-KR" sz="1400" b="1" i="1" dirty="0">
                <a:solidFill>
                  <a:srgbClr val="C00000"/>
                </a:solidFill>
                <a:latin typeface="Arial" panose="020B0604020202020204" pitchFamily="34" charset="0"/>
                <a:cs typeface="Arial" panose="020B0604020202020204" pitchFamily="34" charset="0"/>
              </a:rPr>
              <a:t> be replaced?</a:t>
            </a:r>
          </a:p>
        </p:txBody>
      </p:sp>
      <p:grpSp>
        <p:nvGrpSpPr>
          <p:cNvPr id="74" name="그룹 73">
            <a:extLst>
              <a:ext uri="{FF2B5EF4-FFF2-40B4-BE49-F238E27FC236}">
                <a16:creationId xmlns:a16="http://schemas.microsoft.com/office/drawing/2014/main" id="{CE5201A3-C48A-451C-B4C6-4067301E97B3}"/>
              </a:ext>
            </a:extLst>
          </p:cNvPr>
          <p:cNvGrpSpPr/>
          <p:nvPr/>
        </p:nvGrpSpPr>
        <p:grpSpPr>
          <a:xfrm>
            <a:off x="5817305" y="2315113"/>
            <a:ext cx="3029226" cy="4892168"/>
            <a:chOff x="6072829" y="1933495"/>
            <a:chExt cx="3129894" cy="4924505"/>
          </a:xfrm>
        </p:grpSpPr>
        <p:sp>
          <p:nvSpPr>
            <p:cNvPr id="75" name="직사각형 74">
              <a:extLst>
                <a:ext uri="{FF2B5EF4-FFF2-40B4-BE49-F238E27FC236}">
                  <a16:creationId xmlns:a16="http://schemas.microsoft.com/office/drawing/2014/main" id="{EBB2C7D7-17C4-4A4F-B138-1DB50C7909A8}"/>
                </a:ext>
              </a:extLst>
            </p:cNvPr>
            <p:cNvSpPr/>
            <p:nvPr/>
          </p:nvSpPr>
          <p:spPr>
            <a:xfrm>
              <a:off x="7267736" y="2630981"/>
              <a:ext cx="1229218" cy="154905"/>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solidFill>
                      <a:srgbClr val="C30036">
                        <a:alpha val="0"/>
                      </a:srgbClr>
                    </a:solidFill>
                  </a:ln>
                  <a:solidFill>
                    <a:prstClr val="white"/>
                  </a:solidFill>
                  <a:effectLst/>
                  <a:uLnTx/>
                  <a:uFillTx/>
                  <a:latin typeface="LG스마트체 Bold" panose="020B0600000101010101" pitchFamily="50" charset="-127"/>
                  <a:ea typeface="LG스마트체 Bold" panose="020B0600000101010101" pitchFamily="50" charset="-127"/>
                  <a:cs typeface="+mn-cs"/>
                </a:rPr>
                <a:t>filter replacement</a:t>
              </a:r>
              <a:endParaRPr kumimoji="0" lang="ko-KR" altLang="en-US" sz="1000" b="0" i="0" u="none" strike="noStrike" kern="1200" cap="none" spc="0" normalizeH="0" baseline="0" noProof="0" dirty="0">
                <a:ln>
                  <a:solidFill>
                    <a:srgbClr val="C30036">
                      <a:alpha val="0"/>
                    </a:srgbClr>
                  </a:solidFill>
                </a:ln>
                <a:solidFill>
                  <a:prstClr val="white"/>
                </a:solidFill>
                <a:effectLst/>
                <a:uLnTx/>
                <a:uFillTx/>
                <a:latin typeface="LG스마트체 Bold" panose="020B0600000101010101" pitchFamily="50" charset="-127"/>
                <a:ea typeface="LG스마트체 Bold" panose="020B0600000101010101" pitchFamily="50" charset="-127"/>
                <a:cs typeface="+mn-cs"/>
              </a:endParaRPr>
            </a:p>
          </p:txBody>
        </p:sp>
        <p:pic>
          <p:nvPicPr>
            <p:cNvPr id="76" name="그림 75">
              <a:extLst>
                <a:ext uri="{FF2B5EF4-FFF2-40B4-BE49-F238E27FC236}">
                  <a16:creationId xmlns:a16="http://schemas.microsoft.com/office/drawing/2014/main" id="{D81F03A8-FB9D-477A-8404-5FD1A09F9234}"/>
                </a:ext>
              </a:extLst>
            </p:cNvPr>
            <p:cNvPicPr>
              <a:picLocks noChangeAspect="1"/>
            </p:cNvPicPr>
            <p:nvPr/>
          </p:nvPicPr>
          <p:blipFill rotWithShape="1">
            <a:blip r:embed="rId6">
              <a:extLst>
                <a:ext uri="{28A0092B-C50C-407E-A947-70E740481C1C}">
                  <a14:useLocalDpi xmlns:a14="http://schemas.microsoft.com/office/drawing/2010/main" val="0"/>
                </a:ext>
              </a:extLst>
            </a:blip>
            <a:srcRect l="3312" t="1" r="18220" b="22173"/>
            <a:stretch/>
          </p:blipFill>
          <p:spPr>
            <a:xfrm>
              <a:off x="6072829" y="1933495"/>
              <a:ext cx="3129894" cy="4924505"/>
            </a:xfrm>
            <a:prstGeom prst="rect">
              <a:avLst/>
            </a:prstGeom>
          </p:spPr>
        </p:pic>
        <p:grpSp>
          <p:nvGrpSpPr>
            <p:cNvPr id="77" name="그룹 76">
              <a:extLst>
                <a:ext uri="{FF2B5EF4-FFF2-40B4-BE49-F238E27FC236}">
                  <a16:creationId xmlns:a16="http://schemas.microsoft.com/office/drawing/2014/main" id="{CB7E52CA-FA78-4A4D-ADB0-2ACF28740CDC}"/>
                </a:ext>
              </a:extLst>
            </p:cNvPr>
            <p:cNvGrpSpPr/>
            <p:nvPr/>
          </p:nvGrpSpPr>
          <p:grpSpPr>
            <a:xfrm>
              <a:off x="6617280" y="2501182"/>
              <a:ext cx="1721377" cy="3186554"/>
              <a:chOff x="3714469" y="1748861"/>
              <a:chExt cx="2406517" cy="4273075"/>
            </a:xfrm>
          </p:grpSpPr>
          <p:pic>
            <p:nvPicPr>
              <p:cNvPr id="78" name="그림 77">
                <a:extLst>
                  <a:ext uri="{FF2B5EF4-FFF2-40B4-BE49-F238E27FC236}">
                    <a16:creationId xmlns:a16="http://schemas.microsoft.com/office/drawing/2014/main" id="{11FD2F6B-C82C-4F57-8BD5-AA84ADDCE0F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1809" b="6238"/>
              <a:stretch/>
            </p:blipFill>
            <p:spPr>
              <a:xfrm>
                <a:off x="3714469" y="1748861"/>
                <a:ext cx="2406517" cy="4273075"/>
              </a:xfrm>
              <a:prstGeom prst="rect">
                <a:avLst/>
              </a:prstGeom>
              <a:solidFill>
                <a:srgbClr val="FFFFFF"/>
              </a:solidFill>
              <a:ln>
                <a:noFill/>
              </a:ln>
            </p:spPr>
          </p:pic>
          <p:sp>
            <p:nvSpPr>
              <p:cNvPr id="82" name="직사각형 81">
                <a:extLst>
                  <a:ext uri="{FF2B5EF4-FFF2-40B4-BE49-F238E27FC236}">
                    <a16:creationId xmlns:a16="http://schemas.microsoft.com/office/drawing/2014/main" id="{EAC865D6-C7E3-4AB0-BB5E-53E65B533962}"/>
                  </a:ext>
                </a:extLst>
              </p:cNvPr>
              <p:cNvSpPr/>
              <p:nvPr/>
            </p:nvSpPr>
            <p:spPr>
              <a:xfrm>
                <a:off x="3739870" y="2789311"/>
                <a:ext cx="2331228" cy="1934923"/>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ko-KR" altLang="en-US" sz="1800" b="0" i="0" u="none" strike="noStrike" kern="0" cap="none" spc="0" normalizeH="0" baseline="0" noProof="0">
                  <a:ln>
                    <a:noFill/>
                  </a:ln>
                  <a:solidFill>
                    <a:srgbClr val="FFFFFF"/>
                  </a:solidFill>
                  <a:effectLst/>
                  <a:uLnTx/>
                  <a:uFillTx/>
                  <a:latin typeface="굴림"/>
                  <a:ea typeface="굴림"/>
                  <a:cs typeface="+mn-cs"/>
                </a:endParaRPr>
              </a:p>
            </p:txBody>
          </p:sp>
          <p:pic>
            <p:nvPicPr>
              <p:cNvPr id="83" name="Picture 2">
                <a:extLst>
                  <a:ext uri="{FF2B5EF4-FFF2-40B4-BE49-F238E27FC236}">
                    <a16:creationId xmlns:a16="http://schemas.microsoft.com/office/drawing/2014/main" id="{ABC8DE7F-DED8-4A25-B430-CAFD9CB5DC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97942" y="2849241"/>
                <a:ext cx="1951995" cy="1596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5" name="다이아몬드 84">
                <a:extLst>
                  <a:ext uri="{FF2B5EF4-FFF2-40B4-BE49-F238E27FC236}">
                    <a16:creationId xmlns:a16="http://schemas.microsoft.com/office/drawing/2014/main" id="{FCBAFD2F-136B-4AC2-B663-0419B5664AB5}"/>
                  </a:ext>
                </a:extLst>
              </p:cNvPr>
              <p:cNvSpPr/>
              <p:nvPr/>
            </p:nvSpPr>
            <p:spPr bwMode="auto">
              <a:xfrm>
                <a:off x="4117783" y="3714135"/>
                <a:ext cx="332949" cy="328909"/>
              </a:xfrm>
              <a:prstGeom prst="diamond">
                <a:avLst/>
              </a:prstGeom>
              <a:solidFill>
                <a:srgbClr val="FFFFFF"/>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dirty="0">
                  <a:ln>
                    <a:noFill/>
                  </a:ln>
                  <a:solidFill>
                    <a:srgbClr val="000000">
                      <a:lumMod val="75000"/>
                      <a:lumOff val="25000"/>
                    </a:srgbClr>
                  </a:solidFill>
                  <a:effectLst/>
                  <a:uLnTx/>
                  <a:uFillTx/>
                  <a:latin typeface="Arial" pitchFamily="34" charset="0"/>
                  <a:ea typeface="돋움체" pitchFamily="49" charset="-127"/>
                  <a:cs typeface="+mn-cs"/>
                </a:endParaRPr>
              </a:p>
            </p:txBody>
          </p:sp>
          <p:grpSp>
            <p:nvGrpSpPr>
              <p:cNvPr id="87" name="그룹 86">
                <a:extLst>
                  <a:ext uri="{FF2B5EF4-FFF2-40B4-BE49-F238E27FC236}">
                    <a16:creationId xmlns:a16="http://schemas.microsoft.com/office/drawing/2014/main" id="{332B58CA-71A4-4F57-98A9-2DB79FD48CCE}"/>
                  </a:ext>
                </a:extLst>
              </p:cNvPr>
              <p:cNvGrpSpPr/>
              <p:nvPr/>
            </p:nvGrpSpPr>
            <p:grpSpPr>
              <a:xfrm>
                <a:off x="3839231" y="3630786"/>
                <a:ext cx="251327" cy="238646"/>
                <a:chOff x="5853104" y="5430366"/>
                <a:chExt cx="167316" cy="158874"/>
              </a:xfrm>
            </p:grpSpPr>
            <p:sp>
              <p:nvSpPr>
                <p:cNvPr id="89" name="타원 88">
                  <a:extLst>
                    <a:ext uri="{FF2B5EF4-FFF2-40B4-BE49-F238E27FC236}">
                      <a16:creationId xmlns:a16="http://schemas.microsoft.com/office/drawing/2014/main" id="{B076DDAF-4375-4664-8445-978ACF75FD13}"/>
                    </a:ext>
                  </a:extLst>
                </p:cNvPr>
                <p:cNvSpPr/>
                <p:nvPr/>
              </p:nvSpPr>
              <p:spPr bwMode="auto">
                <a:xfrm>
                  <a:off x="5853104" y="5462182"/>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90" name="타원 89">
                  <a:extLst>
                    <a:ext uri="{FF2B5EF4-FFF2-40B4-BE49-F238E27FC236}">
                      <a16:creationId xmlns:a16="http://schemas.microsoft.com/office/drawing/2014/main" id="{7EEC1FF8-EE8D-416E-A694-535BB4F50092}"/>
                    </a:ext>
                  </a:extLst>
                </p:cNvPr>
                <p:cNvSpPr/>
                <p:nvPr/>
              </p:nvSpPr>
              <p:spPr bwMode="auto">
                <a:xfrm>
                  <a:off x="5918762" y="5430366"/>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91" name="타원 90">
                  <a:extLst>
                    <a:ext uri="{FF2B5EF4-FFF2-40B4-BE49-F238E27FC236}">
                      <a16:creationId xmlns:a16="http://schemas.microsoft.com/office/drawing/2014/main" id="{4D333C64-E10B-4BEC-AFC6-288F58957708}"/>
                    </a:ext>
                  </a:extLst>
                </p:cNvPr>
                <p:cNvSpPr/>
                <p:nvPr/>
              </p:nvSpPr>
              <p:spPr bwMode="auto">
                <a:xfrm>
                  <a:off x="5984420" y="5517232"/>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92" name="타원 91">
                  <a:extLst>
                    <a:ext uri="{FF2B5EF4-FFF2-40B4-BE49-F238E27FC236}">
                      <a16:creationId xmlns:a16="http://schemas.microsoft.com/office/drawing/2014/main" id="{B36B53A8-B1BA-4D6D-90A6-782CF74B7E37}"/>
                    </a:ext>
                  </a:extLst>
                </p:cNvPr>
                <p:cNvSpPr/>
                <p:nvPr/>
              </p:nvSpPr>
              <p:spPr bwMode="auto">
                <a:xfrm>
                  <a:off x="5925112" y="5487582"/>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93" name="타원 92">
                  <a:extLst>
                    <a:ext uri="{FF2B5EF4-FFF2-40B4-BE49-F238E27FC236}">
                      <a16:creationId xmlns:a16="http://schemas.microsoft.com/office/drawing/2014/main" id="{D0629907-2EFE-42C3-BF72-39B2E12EA02A}"/>
                    </a:ext>
                  </a:extLst>
                </p:cNvPr>
                <p:cNvSpPr/>
                <p:nvPr/>
              </p:nvSpPr>
              <p:spPr bwMode="auto">
                <a:xfrm>
                  <a:off x="5865804" y="5553240"/>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94" name="타원 93">
                  <a:extLst>
                    <a:ext uri="{FF2B5EF4-FFF2-40B4-BE49-F238E27FC236}">
                      <a16:creationId xmlns:a16="http://schemas.microsoft.com/office/drawing/2014/main" id="{F9A12585-A953-44B6-90F4-C78AC6806F04}"/>
                    </a:ext>
                  </a:extLst>
                </p:cNvPr>
                <p:cNvSpPr/>
                <p:nvPr/>
              </p:nvSpPr>
              <p:spPr bwMode="auto">
                <a:xfrm>
                  <a:off x="5925112" y="5553240"/>
                  <a:ext cx="36000" cy="36000"/>
                </a:xfrm>
                <a:prstGeom prst="ellips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ko-KR" altLang="en-US" sz="1700" b="1" i="0" u="none" strike="noStrike" kern="0" cap="none" spc="0" normalizeH="0" baseline="0" noProof="0">
                    <a:ln>
                      <a:noFill/>
                    </a:ln>
                    <a:solidFill>
                      <a:srgbClr val="000000"/>
                    </a:solidFill>
                    <a:effectLst/>
                    <a:uLnTx/>
                    <a:uFillTx/>
                    <a:latin typeface="Arial" pitchFamily="34" charset="0"/>
                    <a:ea typeface="돋움체" pitchFamily="49" charset="-127"/>
                    <a:cs typeface="+mn-cs"/>
                  </a:endParaRPr>
                </a:p>
              </p:txBody>
            </p:sp>
          </p:grpSp>
          <p:pic>
            <p:nvPicPr>
              <p:cNvPr id="88" name="Picture 12">
                <a:extLst>
                  <a:ext uri="{FF2B5EF4-FFF2-40B4-BE49-F238E27FC236}">
                    <a16:creationId xmlns:a16="http://schemas.microsoft.com/office/drawing/2014/main" id="{59D5F668-131C-48B0-A467-2100A7337E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9266" t="44424" r="40283" b="46805"/>
              <a:stretch/>
            </p:blipFill>
            <p:spPr bwMode="auto">
              <a:xfrm>
                <a:off x="4690097" y="3482515"/>
                <a:ext cx="465943" cy="433768"/>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grpSp>
      </p:grpSp>
      <p:pic>
        <p:nvPicPr>
          <p:cNvPr id="95" name="그림 94"/>
          <p:cNvPicPr>
            <a:picLocks noChangeAspect="1"/>
          </p:cNvPicPr>
          <p:nvPr/>
        </p:nvPicPr>
        <p:blipFill>
          <a:blip r:embed="rId10"/>
          <a:stretch>
            <a:fillRect/>
          </a:stretch>
        </p:blipFill>
        <p:spPr>
          <a:xfrm>
            <a:off x="6384423" y="2598134"/>
            <a:ext cx="1598394" cy="177107"/>
          </a:xfrm>
          <a:prstGeom prst="rect">
            <a:avLst/>
          </a:prstGeom>
          <a:noFill/>
          <a:ln w="19050">
            <a:noFill/>
          </a:ln>
        </p:spPr>
      </p:pic>
      <p:sp>
        <p:nvSpPr>
          <p:cNvPr id="96" name="자유형 95"/>
          <p:cNvSpPr/>
          <p:nvPr/>
        </p:nvSpPr>
        <p:spPr>
          <a:xfrm>
            <a:off x="5817305" y="2029594"/>
            <a:ext cx="2943030" cy="583994"/>
          </a:xfrm>
          <a:custGeom>
            <a:avLst/>
            <a:gdLst>
              <a:gd name="connsiteX0" fmla="*/ 636494 w 2761130"/>
              <a:gd name="connsiteY0" fmla="*/ 421341 h 421341"/>
              <a:gd name="connsiteX1" fmla="*/ 2214283 w 2761130"/>
              <a:gd name="connsiteY1" fmla="*/ 421341 h 421341"/>
              <a:gd name="connsiteX2" fmla="*/ 2761130 w 2761130"/>
              <a:gd name="connsiteY2" fmla="*/ 0 h 421341"/>
              <a:gd name="connsiteX3" fmla="*/ 0 w 2761130"/>
              <a:gd name="connsiteY3" fmla="*/ 0 h 421341"/>
              <a:gd name="connsiteX4" fmla="*/ 636494 w 2761130"/>
              <a:gd name="connsiteY4" fmla="*/ 421341 h 421341"/>
              <a:gd name="connsiteX0" fmla="*/ 636494 w 2952225"/>
              <a:gd name="connsiteY0" fmla="*/ 421341 h 421341"/>
              <a:gd name="connsiteX1" fmla="*/ 2214283 w 2952225"/>
              <a:gd name="connsiteY1" fmla="*/ 421341 h 421341"/>
              <a:gd name="connsiteX2" fmla="*/ 2952225 w 2952225"/>
              <a:gd name="connsiteY2" fmla="*/ 10995 h 421341"/>
              <a:gd name="connsiteX3" fmla="*/ 0 w 2952225"/>
              <a:gd name="connsiteY3" fmla="*/ 0 h 421341"/>
              <a:gd name="connsiteX4" fmla="*/ 636494 w 2952225"/>
              <a:gd name="connsiteY4" fmla="*/ 421341 h 421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225" h="421341">
                <a:moveTo>
                  <a:pt x="636494" y="421341"/>
                </a:moveTo>
                <a:lnTo>
                  <a:pt x="2214283" y="421341"/>
                </a:lnTo>
                <a:lnTo>
                  <a:pt x="2952225" y="10995"/>
                </a:lnTo>
                <a:lnTo>
                  <a:pt x="0" y="0"/>
                </a:lnTo>
                <a:lnTo>
                  <a:pt x="636494" y="421341"/>
                </a:lnTo>
                <a:close/>
              </a:path>
            </a:pathLst>
          </a:custGeom>
          <a:gradFill flip="none" rotWithShape="1">
            <a:gsLst>
              <a:gs pos="1000">
                <a:schemeClr val="bg1">
                  <a:lumMod val="75000"/>
                  <a:alpha val="0"/>
                </a:schemeClr>
              </a:gs>
              <a:gs pos="100000">
                <a:schemeClr val="tx1">
                  <a:lumMod val="75000"/>
                  <a:lumOff val="2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ea typeface="LG스마트체2.0 SemiBold" panose="020B0600000101010101" pitchFamily="50" charset="-127"/>
              <a:cs typeface="Arial" panose="020B0604020202020204" pitchFamily="34" charset="0"/>
            </a:endParaRPr>
          </a:p>
        </p:txBody>
      </p:sp>
      <p:sp>
        <p:nvSpPr>
          <p:cNvPr id="97" name="TextBox 96"/>
          <p:cNvSpPr txBox="1"/>
          <p:nvPr/>
        </p:nvSpPr>
        <p:spPr>
          <a:xfrm>
            <a:off x="5918067" y="1738226"/>
            <a:ext cx="3339376" cy="307777"/>
          </a:xfrm>
          <a:prstGeom prst="rect">
            <a:avLst/>
          </a:prstGeom>
          <a:solidFill>
            <a:schemeClr val="bg1">
              <a:lumMod val="95000"/>
            </a:schemeClr>
          </a:solidFill>
        </p:spPr>
        <p:txBody>
          <a:bodyPr wrap="none" rtlCol="0">
            <a:spAutoFit/>
          </a:bodyPr>
          <a:lstStyle/>
          <a:p>
            <a:r>
              <a:rPr lang="en-US" altLang="ko-KR" sz="14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rPr>
              <a:t>Replace the fine dust filter in the ventilation.</a:t>
            </a:r>
            <a:endParaRPr lang="ko-KR" altLang="en-US" sz="14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endParaRPr>
          </a:p>
        </p:txBody>
      </p:sp>
      <p:pic>
        <p:nvPicPr>
          <p:cNvPr id="98" name="그림 97"/>
          <p:cNvPicPr>
            <a:picLocks noChangeAspect="1"/>
          </p:cNvPicPr>
          <p:nvPr/>
        </p:nvPicPr>
        <p:blipFill rotWithShape="1">
          <a:blip r:embed="rId10"/>
          <a:srcRect l="764" t="9607" r="89498" b="11296"/>
          <a:stretch/>
        </p:blipFill>
        <p:spPr>
          <a:xfrm>
            <a:off x="5683269" y="1754654"/>
            <a:ext cx="322628" cy="290367"/>
          </a:xfrm>
          <a:prstGeom prst="rect">
            <a:avLst/>
          </a:prstGeom>
          <a:noFill/>
          <a:ln w="19050">
            <a:noFill/>
          </a:ln>
        </p:spPr>
      </p:pic>
      <p:grpSp>
        <p:nvGrpSpPr>
          <p:cNvPr id="99" name="그룹 98"/>
          <p:cNvGrpSpPr/>
          <p:nvPr/>
        </p:nvGrpSpPr>
        <p:grpSpPr>
          <a:xfrm>
            <a:off x="6328189" y="2564401"/>
            <a:ext cx="1700575" cy="3410951"/>
            <a:chOff x="14989874" y="2417409"/>
            <a:chExt cx="2403831" cy="4821517"/>
          </a:xfrm>
        </p:grpSpPr>
        <p:pic>
          <p:nvPicPr>
            <p:cNvPr id="100" name="그림 99"/>
            <p:cNvPicPr>
              <a:picLocks noChangeAspect="1"/>
            </p:cNvPicPr>
            <p:nvPr/>
          </p:nvPicPr>
          <p:blipFill rotWithShape="1">
            <a:blip r:embed="rId11">
              <a:extLst>
                <a:ext uri="{28A0092B-C50C-407E-A947-70E740481C1C}">
                  <a14:useLocalDpi xmlns:a14="http://schemas.microsoft.com/office/drawing/2010/main" val="0"/>
                </a:ext>
              </a:extLst>
            </a:blip>
            <a:srcRect t="3134" b="6874"/>
            <a:stretch/>
          </p:blipFill>
          <p:spPr>
            <a:xfrm>
              <a:off x="14989874" y="2431737"/>
              <a:ext cx="2403831" cy="4807189"/>
            </a:xfrm>
            <a:prstGeom prst="rect">
              <a:avLst/>
            </a:prstGeom>
          </p:spPr>
        </p:pic>
        <p:sp>
          <p:nvSpPr>
            <p:cNvPr id="101" name="직사각형 100"/>
            <p:cNvSpPr/>
            <p:nvPr/>
          </p:nvSpPr>
          <p:spPr>
            <a:xfrm>
              <a:off x="15487847" y="2417409"/>
              <a:ext cx="1407884" cy="2468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02" name="TextBox 101"/>
          <p:cNvSpPr txBox="1"/>
          <p:nvPr/>
        </p:nvSpPr>
        <p:spPr>
          <a:xfrm>
            <a:off x="6517613" y="2572792"/>
            <a:ext cx="1492644" cy="176401"/>
          </a:xfrm>
          <a:prstGeom prst="rect">
            <a:avLst/>
          </a:prstGeom>
          <a:solidFill>
            <a:schemeClr val="bg1">
              <a:lumMod val="95000"/>
            </a:schemeClr>
          </a:solidFill>
        </p:spPr>
        <p:txBody>
          <a:bodyPr wrap="square" rtlCol="0">
            <a:spAutoFit/>
          </a:bodyPr>
          <a:lstStyle/>
          <a:p>
            <a:endParaRPr lang="ko-KR" altLang="en-US" sz="7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endParaRPr>
          </a:p>
        </p:txBody>
      </p:sp>
      <p:pic>
        <p:nvPicPr>
          <p:cNvPr id="103" name="그림 102"/>
          <p:cNvPicPr>
            <a:picLocks noChangeAspect="1"/>
          </p:cNvPicPr>
          <p:nvPr/>
        </p:nvPicPr>
        <p:blipFill rotWithShape="1">
          <a:blip r:embed="rId10"/>
          <a:srcRect l="764" t="9607" r="89498" b="11296"/>
          <a:stretch/>
        </p:blipFill>
        <p:spPr>
          <a:xfrm>
            <a:off x="6345646" y="2570630"/>
            <a:ext cx="184758" cy="166283"/>
          </a:xfrm>
          <a:prstGeom prst="rect">
            <a:avLst/>
          </a:prstGeom>
          <a:noFill/>
          <a:ln w="19050">
            <a:noFill/>
          </a:ln>
        </p:spPr>
      </p:pic>
      <p:sp>
        <p:nvSpPr>
          <p:cNvPr id="104" name="직사각형 103"/>
          <p:cNvSpPr/>
          <p:nvPr/>
        </p:nvSpPr>
        <p:spPr>
          <a:xfrm>
            <a:off x="6446492" y="2555279"/>
            <a:ext cx="1614545" cy="200055"/>
          </a:xfrm>
          <a:prstGeom prst="rect">
            <a:avLst/>
          </a:prstGeom>
        </p:spPr>
        <p:txBody>
          <a:bodyPr wrap="none">
            <a:spAutoFit/>
          </a:bodyPr>
          <a:lstStyle/>
          <a:p>
            <a:r>
              <a:rPr lang="en-US" altLang="ko-KR" sz="7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rPr>
              <a:t>Replace the fine dust filter in the ventilation.</a:t>
            </a:r>
            <a:endParaRPr lang="ko-KR" altLang="en-US" sz="700" spc="-50" dirty="0">
              <a:ln>
                <a:solidFill>
                  <a:srgbClr val="4472C4">
                    <a:alpha val="0"/>
                  </a:srgbClr>
                </a:solidFill>
              </a:ln>
              <a:latin typeface="Arial" panose="020B0604020202020204" pitchFamily="34" charset="0"/>
              <a:ea typeface="LG스마트체 SemiBold" panose="020B0600000101010101" pitchFamily="50" charset="-127"/>
              <a:cs typeface="Arial" panose="020B0604020202020204" pitchFamily="34" charset="0"/>
            </a:endParaRPr>
          </a:p>
        </p:txBody>
      </p:sp>
      <p:sp>
        <p:nvSpPr>
          <p:cNvPr id="105" name="타원 104">
            <a:extLst>
              <a:ext uri="{FF2B5EF4-FFF2-40B4-BE49-F238E27FC236}">
                <a16:creationId xmlns:a16="http://schemas.microsoft.com/office/drawing/2014/main" id="{E0A02221-0ED7-45A9-95C9-63C3C2F89F2F}"/>
              </a:ext>
            </a:extLst>
          </p:cNvPr>
          <p:cNvSpPr/>
          <p:nvPr/>
        </p:nvSpPr>
        <p:spPr>
          <a:xfrm>
            <a:off x="1947756" y="3953154"/>
            <a:ext cx="253304" cy="253304"/>
          </a:xfrm>
          <a:prstGeom prst="ellipse">
            <a:avLst/>
          </a:prstGeom>
          <a:solidFill>
            <a:schemeClr val="tx1">
              <a:alpha val="38000"/>
            </a:schemeClr>
          </a:solidFill>
          <a:ln w="38100">
            <a:gradFill>
              <a:gsLst>
                <a:gs pos="0">
                  <a:srgbClr val="C30037"/>
                </a:gs>
                <a:gs pos="100000">
                  <a:srgbClr val="F92763"/>
                </a:gs>
              </a:gsLst>
              <a:lin ang="5400000" scaled="1"/>
            </a:gra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spTree>
    <p:extLst>
      <p:ext uri="{BB962C8B-B14F-4D97-AF65-F5344CB8AC3E}">
        <p14:creationId xmlns:p14="http://schemas.microsoft.com/office/powerpoint/2010/main" val="28610507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2856752" y="2586107"/>
            <a:ext cx="4192494" cy="821955"/>
            <a:chOff x="974249" y="5312146"/>
            <a:chExt cx="4192494" cy="821955"/>
          </a:xfrm>
        </p:grpSpPr>
        <p:sp>
          <p:nvSpPr>
            <p:cNvPr id="8" name="TextBox 7">
              <a:extLst>
                <a:ext uri="{FF2B5EF4-FFF2-40B4-BE49-F238E27FC236}">
                  <a16:creationId xmlns:a16="http://schemas.microsoft.com/office/drawing/2014/main" id="{B136B945-D790-41EC-BAE4-E31E1F22B7B2}"/>
                </a:ext>
              </a:extLst>
            </p:cNvPr>
            <p:cNvSpPr txBox="1"/>
            <p:nvPr/>
          </p:nvSpPr>
          <p:spPr>
            <a:xfrm>
              <a:off x="974249" y="5312146"/>
              <a:ext cx="4192494"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How to size ERV</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spTree>
    <p:extLst>
      <p:ext uri="{BB962C8B-B14F-4D97-AF65-F5344CB8AC3E}">
        <p14:creationId xmlns:p14="http://schemas.microsoft.com/office/powerpoint/2010/main" val="25195717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텍스트 개체 틀 1">
            <a:extLst>
              <a:ext uri="{FF2B5EF4-FFF2-40B4-BE49-F238E27FC236}">
                <a16:creationId xmlns:a16="http://schemas.microsoft.com/office/drawing/2014/main" id="{BE462406-8BEB-951C-14A9-76C3927D55FE}"/>
              </a:ext>
            </a:extLst>
          </p:cNvPr>
          <p:cNvSpPr txBox="1">
            <a:spLocks/>
          </p:cNvSpPr>
          <p:nvPr/>
        </p:nvSpPr>
        <p:spPr>
          <a:xfrm>
            <a:off x="276742" y="164292"/>
            <a:ext cx="9324458" cy="73775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ko-KR" b="1" dirty="0"/>
              <a:t>How to size and ERV?</a:t>
            </a:r>
          </a:p>
        </p:txBody>
      </p:sp>
      <p:sp>
        <p:nvSpPr>
          <p:cNvPr id="6" name="텍스트 개체 틀 3">
            <a:extLst>
              <a:ext uri="{FF2B5EF4-FFF2-40B4-BE49-F238E27FC236}">
                <a16:creationId xmlns:a16="http://schemas.microsoft.com/office/drawing/2014/main" id="{92CDD84A-E7C9-310B-DD44-857F77AF811E}"/>
              </a:ext>
            </a:extLst>
          </p:cNvPr>
          <p:cNvSpPr txBox="1">
            <a:spLocks/>
          </p:cNvSpPr>
          <p:nvPr/>
        </p:nvSpPr>
        <p:spPr>
          <a:xfrm>
            <a:off x="267752" y="902043"/>
            <a:ext cx="9342438" cy="232679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028700" lvl="1">
              <a:buFont typeface="Arial" panose="020B0604020202020204" pitchFamily="34" charset="0"/>
              <a:buChar char="•"/>
            </a:pPr>
            <a:r>
              <a:rPr lang="en-US" altLang="ko-KR" dirty="0"/>
              <a:t>Multiply the house/condo volume (square feet x ceiling height)/60 * 0.35 air changes per hour</a:t>
            </a:r>
          </a:p>
          <a:p>
            <a:pPr marL="1428750" lvl="2">
              <a:buFont typeface="Arial" panose="020B0604020202020204" pitchFamily="34" charset="0"/>
              <a:buChar char="•"/>
            </a:pPr>
            <a:r>
              <a:rPr lang="en-US" altLang="ko-KR" dirty="0"/>
              <a:t>Example of 1500 square foot condo with 10 foot ceilings</a:t>
            </a:r>
          </a:p>
          <a:p>
            <a:pPr marL="1885950" lvl="3">
              <a:buFont typeface="Arial" panose="020B0604020202020204" pitchFamily="34" charset="0"/>
              <a:buChar char="•"/>
            </a:pPr>
            <a:r>
              <a:rPr lang="en-US" altLang="ko-KR" dirty="0"/>
              <a:t>ERV CFM = (1500*10)/60 * 0.35 = 87.5 CFM</a:t>
            </a:r>
          </a:p>
        </p:txBody>
      </p:sp>
      <p:sp>
        <p:nvSpPr>
          <p:cNvPr id="7" name="TextBox 6">
            <a:extLst>
              <a:ext uri="{FF2B5EF4-FFF2-40B4-BE49-F238E27FC236}">
                <a16:creationId xmlns:a16="http://schemas.microsoft.com/office/drawing/2014/main" id="{A9CE2170-4957-EF81-85EE-27F74F5DA38B}"/>
              </a:ext>
            </a:extLst>
          </p:cNvPr>
          <p:cNvSpPr txBox="1"/>
          <p:nvPr/>
        </p:nvSpPr>
        <p:spPr>
          <a:xfrm>
            <a:off x="642551" y="5869459"/>
            <a:ext cx="8413522" cy="369332"/>
          </a:xfrm>
          <a:prstGeom prst="rect">
            <a:avLst/>
          </a:prstGeom>
          <a:noFill/>
        </p:spPr>
        <p:txBody>
          <a:bodyPr wrap="none" rtlCol="0">
            <a:spAutoFit/>
          </a:bodyPr>
          <a:lstStyle/>
          <a:p>
            <a:r>
              <a:rPr lang="en-US" dirty="0">
                <a:latin typeface="Arial" pitchFamily="34" charset="0"/>
                <a:cs typeface="Arial" pitchFamily="34" charset="0"/>
              </a:rPr>
              <a:t>NOTE: Local codes may dictate how to calculate outdoor air needed to size ERV</a:t>
            </a:r>
          </a:p>
        </p:txBody>
      </p:sp>
      <p:pic>
        <p:nvPicPr>
          <p:cNvPr id="8" name="Picture 7" descr="A picture containing electronics, white&#10;&#10;Description automatically generated">
            <a:extLst>
              <a:ext uri="{FF2B5EF4-FFF2-40B4-BE49-F238E27FC236}">
                <a16:creationId xmlns:a16="http://schemas.microsoft.com/office/drawing/2014/main" id="{A54FA233-4DB5-2159-8FC6-DD47A84B6AF7}"/>
              </a:ext>
            </a:extLst>
          </p:cNvPr>
          <p:cNvPicPr>
            <a:picLocks noChangeAspect="1"/>
          </p:cNvPicPr>
          <p:nvPr/>
        </p:nvPicPr>
        <p:blipFill rotWithShape="1">
          <a:blip r:embed="rId2"/>
          <a:srcRect b="13060"/>
          <a:stretch/>
        </p:blipFill>
        <p:spPr>
          <a:xfrm>
            <a:off x="6924878" y="2945216"/>
            <a:ext cx="2676322" cy="2326791"/>
          </a:xfrm>
          <a:prstGeom prst="rect">
            <a:avLst/>
          </a:prstGeom>
        </p:spPr>
      </p:pic>
      <p:pic>
        <p:nvPicPr>
          <p:cNvPr id="10" name="Picture 9">
            <a:extLst>
              <a:ext uri="{FF2B5EF4-FFF2-40B4-BE49-F238E27FC236}">
                <a16:creationId xmlns:a16="http://schemas.microsoft.com/office/drawing/2014/main" id="{130B2D43-9E53-919A-6858-033CBB307A28}"/>
              </a:ext>
            </a:extLst>
          </p:cNvPr>
          <p:cNvPicPr>
            <a:picLocks noChangeAspect="1"/>
          </p:cNvPicPr>
          <p:nvPr/>
        </p:nvPicPr>
        <p:blipFill>
          <a:blip r:embed="rId3"/>
          <a:stretch>
            <a:fillRect/>
          </a:stretch>
        </p:blipFill>
        <p:spPr>
          <a:xfrm>
            <a:off x="963827" y="3084072"/>
            <a:ext cx="5825706" cy="2187935"/>
          </a:xfrm>
          <a:prstGeom prst="rect">
            <a:avLst/>
          </a:prstGeom>
        </p:spPr>
      </p:pic>
    </p:spTree>
    <p:extLst>
      <p:ext uri="{BB962C8B-B14F-4D97-AF65-F5344CB8AC3E}">
        <p14:creationId xmlns:p14="http://schemas.microsoft.com/office/powerpoint/2010/main" val="10613484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2956137" y="2586107"/>
            <a:ext cx="3993722" cy="821955"/>
            <a:chOff x="1073634" y="5312146"/>
            <a:chExt cx="3993722" cy="821955"/>
          </a:xfrm>
        </p:grpSpPr>
        <p:sp>
          <p:nvSpPr>
            <p:cNvPr id="8" name="TextBox 7">
              <a:extLst>
                <a:ext uri="{FF2B5EF4-FFF2-40B4-BE49-F238E27FC236}">
                  <a16:creationId xmlns:a16="http://schemas.microsoft.com/office/drawing/2014/main" id="{B136B945-D790-41EC-BAE4-E31E1F22B7B2}"/>
                </a:ext>
              </a:extLst>
            </p:cNvPr>
            <p:cNvSpPr txBox="1"/>
            <p:nvPr/>
          </p:nvSpPr>
          <p:spPr>
            <a:xfrm>
              <a:off x="1073634" y="5312146"/>
              <a:ext cx="3993722"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ERV Resources</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spTree>
    <p:extLst>
      <p:ext uri="{BB962C8B-B14F-4D97-AF65-F5344CB8AC3E}">
        <p14:creationId xmlns:p14="http://schemas.microsoft.com/office/powerpoint/2010/main" val="18363087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Submittals </a:t>
            </a:r>
          </a:p>
        </p:txBody>
      </p:sp>
      <p:sp>
        <p:nvSpPr>
          <p:cNvPr id="14" name="Rectangle 13">
            <a:extLst>
              <a:ext uri="{FF2B5EF4-FFF2-40B4-BE49-F238E27FC236}">
                <a16:creationId xmlns:a16="http://schemas.microsoft.com/office/drawing/2014/main" id="{8895DD88-CC40-90FB-26F0-55B48C26F2C8}"/>
              </a:ext>
            </a:extLst>
          </p:cNvPr>
          <p:cNvSpPr/>
          <p:nvPr/>
        </p:nvSpPr>
        <p:spPr bwMode="auto">
          <a:xfrm>
            <a:off x="3266983" y="4492101"/>
            <a:ext cx="1988598" cy="871068"/>
          </a:xfrm>
          <a:prstGeom prst="rect">
            <a:avLst/>
          </a:prstGeom>
          <a:solidFill>
            <a:schemeClr val="bg1"/>
          </a:solidFill>
          <a:ln w="9525">
            <a:noFill/>
            <a:prstDash val="dash"/>
            <a:miter lim="800000"/>
            <a:headEnd/>
            <a:tailEnd/>
          </a:ln>
        </p:spPr>
        <p:txBody>
          <a:bodyPr rtlCol="0" anchor="ctr"/>
          <a:lstStyle/>
          <a:p>
            <a:pPr algn="ctr"/>
            <a:endParaRPr lang="en-US"/>
          </a:p>
        </p:txBody>
      </p:sp>
      <p:sp>
        <p:nvSpPr>
          <p:cNvPr id="53" name="Rectangle 52">
            <a:extLst>
              <a:ext uri="{FF2B5EF4-FFF2-40B4-BE49-F238E27FC236}">
                <a16:creationId xmlns:a16="http://schemas.microsoft.com/office/drawing/2014/main" id="{CA5BFE11-0765-8F7B-0C28-7F830D4FA3E9}"/>
              </a:ext>
            </a:extLst>
          </p:cNvPr>
          <p:cNvSpPr/>
          <p:nvPr/>
        </p:nvSpPr>
        <p:spPr bwMode="auto">
          <a:xfrm rot="20502822">
            <a:off x="4264375" y="4087650"/>
            <a:ext cx="1806814" cy="871068"/>
          </a:xfrm>
          <a:prstGeom prst="rect">
            <a:avLst/>
          </a:prstGeom>
          <a:solidFill>
            <a:schemeClr val="bg1"/>
          </a:solidFill>
          <a:ln w="9525">
            <a:noFill/>
            <a:prstDash val="dash"/>
            <a:miter lim="800000"/>
            <a:headEnd/>
            <a:tailEnd/>
          </a:ln>
        </p:spPr>
        <p:txBody>
          <a:bodyPr rtlCol="0" anchor="ctr"/>
          <a:lstStyle/>
          <a:p>
            <a:pPr algn="ctr"/>
            <a:endParaRPr lang="en-US"/>
          </a:p>
        </p:txBody>
      </p:sp>
      <p:sp>
        <p:nvSpPr>
          <p:cNvPr id="8" name="TextBox 7">
            <a:extLst>
              <a:ext uri="{FF2B5EF4-FFF2-40B4-BE49-F238E27FC236}">
                <a16:creationId xmlns:a16="http://schemas.microsoft.com/office/drawing/2014/main" id="{2FC07B8A-4FE6-97B9-BFD1-134DB2918AED}"/>
              </a:ext>
            </a:extLst>
          </p:cNvPr>
          <p:cNvSpPr txBox="1"/>
          <p:nvPr/>
        </p:nvSpPr>
        <p:spPr>
          <a:xfrm>
            <a:off x="204185" y="6152427"/>
            <a:ext cx="8673483" cy="430887"/>
          </a:xfrm>
          <a:prstGeom prst="rect">
            <a:avLst/>
          </a:prstGeom>
          <a:noFill/>
        </p:spPr>
        <p:txBody>
          <a:bodyPr wrap="square">
            <a:spAutoFit/>
          </a:bodyPr>
          <a:lstStyle/>
          <a:p>
            <a:r>
              <a:rPr lang="en-US" sz="1100" dirty="0">
                <a:hlinkClick r:id="rId3"/>
              </a:rPr>
              <a:t>https://lghvac.com/residential-light-commercial/product-type/?productTypeId=a2x6g000000S543&amp;iscommercial=false&amp;class=Accessories</a:t>
            </a:r>
            <a:endParaRPr lang="en-US" sz="1100" dirty="0"/>
          </a:p>
          <a:p>
            <a:endParaRPr lang="en-US" sz="1100" dirty="0"/>
          </a:p>
        </p:txBody>
      </p:sp>
      <p:pic>
        <p:nvPicPr>
          <p:cNvPr id="5" name="Picture 4">
            <a:extLst>
              <a:ext uri="{FF2B5EF4-FFF2-40B4-BE49-F238E27FC236}">
                <a16:creationId xmlns:a16="http://schemas.microsoft.com/office/drawing/2014/main" id="{96B358C2-C8B4-A303-48E2-209CD9EA36B2}"/>
              </a:ext>
            </a:extLst>
          </p:cNvPr>
          <p:cNvPicPr>
            <a:picLocks noChangeAspect="1"/>
          </p:cNvPicPr>
          <p:nvPr/>
        </p:nvPicPr>
        <p:blipFill>
          <a:blip r:embed="rId4"/>
          <a:stretch>
            <a:fillRect/>
          </a:stretch>
        </p:blipFill>
        <p:spPr>
          <a:xfrm>
            <a:off x="56494" y="941033"/>
            <a:ext cx="4607694" cy="4562173"/>
          </a:xfrm>
          <a:prstGeom prst="rect">
            <a:avLst/>
          </a:prstGeom>
        </p:spPr>
      </p:pic>
      <p:pic>
        <p:nvPicPr>
          <p:cNvPr id="7" name="Picture 6">
            <a:extLst>
              <a:ext uri="{FF2B5EF4-FFF2-40B4-BE49-F238E27FC236}">
                <a16:creationId xmlns:a16="http://schemas.microsoft.com/office/drawing/2014/main" id="{229D94A3-3F65-EE44-9CCF-0A12D946482B}"/>
              </a:ext>
            </a:extLst>
          </p:cNvPr>
          <p:cNvPicPr>
            <a:picLocks noChangeAspect="1"/>
          </p:cNvPicPr>
          <p:nvPr/>
        </p:nvPicPr>
        <p:blipFill>
          <a:blip r:embed="rId5"/>
          <a:stretch>
            <a:fillRect/>
          </a:stretch>
        </p:blipFill>
        <p:spPr>
          <a:xfrm>
            <a:off x="4953000" y="941033"/>
            <a:ext cx="4690757" cy="4562173"/>
          </a:xfrm>
          <a:prstGeom prst="rect">
            <a:avLst/>
          </a:prstGeom>
        </p:spPr>
      </p:pic>
    </p:spTree>
    <p:extLst>
      <p:ext uri="{BB962C8B-B14F-4D97-AF65-F5344CB8AC3E}">
        <p14:creationId xmlns:p14="http://schemas.microsoft.com/office/powerpoint/2010/main" val="3254706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9"/>
          </p:nvPr>
        </p:nvSpPr>
        <p:spPr/>
        <p:txBody>
          <a:bodyPr/>
          <a:lstStyle/>
          <a:p>
            <a:r>
              <a:rPr lang="en-US" altLang="ko-KR" dirty="0"/>
              <a:t>Engineering Manual</a:t>
            </a:r>
          </a:p>
        </p:txBody>
      </p:sp>
      <p:sp>
        <p:nvSpPr>
          <p:cNvPr id="6" name="TextBox 5">
            <a:extLst>
              <a:ext uri="{FF2B5EF4-FFF2-40B4-BE49-F238E27FC236}">
                <a16:creationId xmlns:a16="http://schemas.microsoft.com/office/drawing/2014/main" id="{2B2F6CAB-932D-B87F-B655-8C6F289F8C2F}"/>
              </a:ext>
            </a:extLst>
          </p:cNvPr>
          <p:cNvSpPr txBox="1"/>
          <p:nvPr/>
        </p:nvSpPr>
        <p:spPr>
          <a:xfrm>
            <a:off x="389878" y="6277382"/>
            <a:ext cx="9126244" cy="307777"/>
          </a:xfrm>
          <a:prstGeom prst="rect">
            <a:avLst/>
          </a:prstGeom>
          <a:noFill/>
        </p:spPr>
        <p:txBody>
          <a:bodyPr wrap="square">
            <a:spAutoFit/>
          </a:bodyPr>
          <a:lstStyle/>
          <a:p>
            <a:r>
              <a:rPr lang="en-US" sz="1400" dirty="0">
                <a:hlinkClick r:id="rId3"/>
              </a:rPr>
              <a:t>https://lghvac.lightning.force.com/lightning/r/ContentDocument/0696g00000QB3asAAD/view</a:t>
            </a:r>
            <a:r>
              <a:rPr lang="en-US" sz="1400" dirty="0"/>
              <a:t> </a:t>
            </a:r>
          </a:p>
        </p:txBody>
      </p:sp>
      <p:pic>
        <p:nvPicPr>
          <p:cNvPr id="5" name="Picture 4">
            <a:extLst>
              <a:ext uri="{FF2B5EF4-FFF2-40B4-BE49-F238E27FC236}">
                <a16:creationId xmlns:a16="http://schemas.microsoft.com/office/drawing/2014/main" id="{C0EAA701-D625-3140-3184-13977B8DF1CE}"/>
              </a:ext>
            </a:extLst>
          </p:cNvPr>
          <p:cNvPicPr>
            <a:picLocks noChangeAspect="1"/>
          </p:cNvPicPr>
          <p:nvPr/>
        </p:nvPicPr>
        <p:blipFill>
          <a:blip r:embed="rId4"/>
          <a:stretch>
            <a:fillRect/>
          </a:stretch>
        </p:blipFill>
        <p:spPr>
          <a:xfrm>
            <a:off x="555066" y="737763"/>
            <a:ext cx="4132441" cy="5335480"/>
          </a:xfrm>
          <a:prstGeom prst="rect">
            <a:avLst/>
          </a:prstGeom>
        </p:spPr>
      </p:pic>
      <p:pic>
        <p:nvPicPr>
          <p:cNvPr id="9" name="Picture 8">
            <a:extLst>
              <a:ext uri="{FF2B5EF4-FFF2-40B4-BE49-F238E27FC236}">
                <a16:creationId xmlns:a16="http://schemas.microsoft.com/office/drawing/2014/main" id="{FF68133F-58C8-2A69-3413-7DC730D3C5D6}"/>
              </a:ext>
            </a:extLst>
          </p:cNvPr>
          <p:cNvPicPr>
            <a:picLocks noChangeAspect="1"/>
          </p:cNvPicPr>
          <p:nvPr/>
        </p:nvPicPr>
        <p:blipFill>
          <a:blip r:embed="rId5"/>
          <a:stretch>
            <a:fillRect/>
          </a:stretch>
        </p:blipFill>
        <p:spPr>
          <a:xfrm>
            <a:off x="4802080" y="818056"/>
            <a:ext cx="4873595" cy="4944862"/>
          </a:xfrm>
          <a:prstGeom prst="rect">
            <a:avLst/>
          </a:prstGeom>
        </p:spPr>
      </p:pic>
    </p:spTree>
    <p:extLst>
      <p:ext uri="{BB962C8B-B14F-4D97-AF65-F5344CB8AC3E}">
        <p14:creationId xmlns:p14="http://schemas.microsoft.com/office/powerpoint/2010/main" val="3181947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254" y="3648088"/>
            <a:ext cx="4572000" cy="3045619"/>
          </a:xfrm>
          <a:prstGeom prst="rect">
            <a:avLst/>
          </a:prstGeom>
        </p:spPr>
      </p:pic>
      <p:sp>
        <p:nvSpPr>
          <p:cNvPr id="2" name="텍스트 개체 틀 1"/>
          <p:cNvSpPr>
            <a:spLocks noGrp="1"/>
          </p:cNvSpPr>
          <p:nvPr>
            <p:ph type="body" sz="quarter" idx="19"/>
          </p:nvPr>
        </p:nvSpPr>
        <p:spPr>
          <a:xfrm>
            <a:off x="276743" y="164293"/>
            <a:ext cx="8521268" cy="369332"/>
          </a:xfrm>
        </p:spPr>
        <p:txBody>
          <a:bodyPr/>
          <a:lstStyle/>
          <a:p>
            <a:r>
              <a:rPr lang="en-US" altLang="ko-KR" dirty="0"/>
              <a:t>Why Do I Need Ventilation?</a:t>
            </a:r>
          </a:p>
        </p:txBody>
      </p:sp>
      <p:sp>
        <p:nvSpPr>
          <p:cNvPr id="4" name="텍스트 개체 틀 3"/>
          <p:cNvSpPr>
            <a:spLocks noGrp="1"/>
          </p:cNvSpPr>
          <p:nvPr>
            <p:ph type="body" sz="quarter" idx="21"/>
          </p:nvPr>
        </p:nvSpPr>
        <p:spPr>
          <a:xfrm>
            <a:off x="278422" y="748127"/>
            <a:ext cx="9342438" cy="2326791"/>
          </a:xfrm>
        </p:spPr>
        <p:txBody>
          <a:bodyPr/>
          <a:lstStyle/>
          <a:p>
            <a:pPr marL="1028700" lvl="1">
              <a:buFont typeface="Arial" panose="020B0604020202020204" pitchFamily="34" charset="0"/>
              <a:buChar char="•"/>
            </a:pPr>
            <a:r>
              <a:rPr lang="en-US" altLang="ko-KR" dirty="0"/>
              <a:t>Airtight homes are like plastic bags that do not “breath” like older homes </a:t>
            </a:r>
          </a:p>
          <a:p>
            <a:pPr marL="1028700" lvl="1">
              <a:buFont typeface="Arial" panose="020B0604020202020204" pitchFamily="34" charset="0"/>
              <a:buChar char="•"/>
            </a:pPr>
            <a:r>
              <a:rPr lang="en-US" altLang="ko-KR" dirty="0"/>
              <a:t>Indoor air contaminants can reduce IAQ</a:t>
            </a:r>
          </a:p>
          <a:p>
            <a:pPr marL="1028700" lvl="1">
              <a:buFont typeface="Arial" panose="020B0604020202020204" pitchFamily="34" charset="0"/>
              <a:buChar char="•"/>
            </a:pPr>
            <a:r>
              <a:rPr lang="en-US" altLang="ko-KR" dirty="0"/>
              <a:t>Allergies may prevent users from using natural ventilation (opening a window)</a:t>
            </a:r>
          </a:p>
        </p:txBody>
      </p:sp>
      <p:pic>
        <p:nvPicPr>
          <p:cNvPr id="17" name="그림 16" descr="사람, 젊은, 소년이(가) 표시된 사진&#10;&#10;자동 생성된 설명">
            <a:extLst>
              <a:ext uri="{FF2B5EF4-FFF2-40B4-BE49-F238E27FC236}">
                <a16:creationId xmlns:a16="http://schemas.microsoft.com/office/drawing/2014/main" id="{8FC19BE5-7D5B-4EEA-A72C-C388901DA50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2597"/>
          <a:stretch/>
        </p:blipFill>
        <p:spPr>
          <a:xfrm>
            <a:off x="226127" y="3660843"/>
            <a:ext cx="4572000" cy="3020107"/>
          </a:xfrm>
          <a:prstGeom prst="rect">
            <a:avLst/>
          </a:prstGeom>
        </p:spPr>
      </p:pic>
    </p:spTree>
    <p:extLst>
      <p:ext uri="{BB962C8B-B14F-4D97-AF65-F5344CB8AC3E}">
        <p14:creationId xmlns:p14="http://schemas.microsoft.com/office/powerpoint/2010/main" val="2893410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2C0B1B-D3A8-54E4-FA1E-E9FC42C06A71}"/>
              </a:ext>
            </a:extLst>
          </p:cNvPr>
          <p:cNvPicPr>
            <a:picLocks noChangeAspect="1"/>
          </p:cNvPicPr>
          <p:nvPr/>
        </p:nvPicPr>
        <p:blipFill>
          <a:blip r:embed="rId2"/>
          <a:stretch>
            <a:fillRect/>
          </a:stretch>
        </p:blipFill>
        <p:spPr>
          <a:xfrm>
            <a:off x="1690687" y="728662"/>
            <a:ext cx="6524625" cy="5400675"/>
          </a:xfrm>
          <a:prstGeom prst="rect">
            <a:avLst/>
          </a:prstGeom>
        </p:spPr>
      </p:pic>
      <p:sp>
        <p:nvSpPr>
          <p:cNvPr id="8" name="TextBox 7">
            <a:extLst>
              <a:ext uri="{FF2B5EF4-FFF2-40B4-BE49-F238E27FC236}">
                <a16:creationId xmlns:a16="http://schemas.microsoft.com/office/drawing/2014/main" id="{8FD5136F-6F03-AB4E-767B-DE212E7E2D66}"/>
              </a:ext>
            </a:extLst>
          </p:cNvPr>
          <p:cNvSpPr txBox="1"/>
          <p:nvPr/>
        </p:nvSpPr>
        <p:spPr>
          <a:xfrm>
            <a:off x="290512" y="6213034"/>
            <a:ext cx="9342438" cy="261610"/>
          </a:xfrm>
          <a:prstGeom prst="rect">
            <a:avLst/>
          </a:prstGeom>
          <a:noFill/>
        </p:spPr>
        <p:txBody>
          <a:bodyPr wrap="square">
            <a:spAutoFit/>
          </a:bodyPr>
          <a:lstStyle/>
          <a:p>
            <a:r>
              <a:rPr lang="en-US" sz="1100" dirty="0">
                <a:hlinkClick r:id="rId3"/>
              </a:rPr>
              <a:t>https://www.detroitnews.com/story/life/home-garden/2022/12/07/the-inside-outside-guys-the-air-we-breathe/69685406007/</a:t>
            </a:r>
            <a:r>
              <a:rPr lang="en-US" sz="1100" dirty="0"/>
              <a:t> on 12/15/22</a:t>
            </a:r>
          </a:p>
        </p:txBody>
      </p:sp>
      <p:sp>
        <p:nvSpPr>
          <p:cNvPr id="9" name="텍스트 개체 틀 1">
            <a:extLst>
              <a:ext uri="{FF2B5EF4-FFF2-40B4-BE49-F238E27FC236}">
                <a16:creationId xmlns:a16="http://schemas.microsoft.com/office/drawing/2014/main" id="{AB387216-20AE-5B81-2493-95A7268B9083}"/>
              </a:ext>
            </a:extLst>
          </p:cNvPr>
          <p:cNvSpPr>
            <a:spLocks noGrp="1"/>
          </p:cNvSpPr>
          <p:nvPr>
            <p:ph type="body" sz="quarter" idx="19"/>
          </p:nvPr>
        </p:nvSpPr>
        <p:spPr>
          <a:xfrm>
            <a:off x="276225" y="114086"/>
            <a:ext cx="7793038" cy="369887"/>
          </a:xfrm>
        </p:spPr>
        <p:txBody>
          <a:bodyPr/>
          <a:lstStyle/>
          <a:p>
            <a:r>
              <a:rPr lang="en-US" altLang="ko-KR" dirty="0"/>
              <a:t>Why Do I Need Ventilation?</a:t>
            </a:r>
          </a:p>
        </p:txBody>
      </p:sp>
      <p:sp>
        <p:nvSpPr>
          <p:cNvPr id="10" name="Rectangle 9">
            <a:extLst>
              <a:ext uri="{FF2B5EF4-FFF2-40B4-BE49-F238E27FC236}">
                <a16:creationId xmlns:a16="http://schemas.microsoft.com/office/drawing/2014/main" id="{2584504B-AA21-8E6B-19A6-CBEA8653800D}"/>
              </a:ext>
            </a:extLst>
          </p:cNvPr>
          <p:cNvSpPr/>
          <p:nvPr/>
        </p:nvSpPr>
        <p:spPr bwMode="auto">
          <a:xfrm>
            <a:off x="1828800" y="2903838"/>
            <a:ext cx="6240463" cy="729048"/>
          </a:xfrm>
          <a:prstGeom prst="rect">
            <a:avLst/>
          </a:prstGeom>
          <a:noFill/>
          <a:ln w="38100">
            <a:solidFill>
              <a:srgbClr val="FF0000"/>
            </a:solidFill>
            <a:prstDash val="solid"/>
            <a:miter lim="800000"/>
            <a:headEnd/>
            <a:tailEnd/>
          </a:ln>
        </p:spPr>
        <p:txBody>
          <a:bodyPr rtlCol="0" anchor="ctr"/>
          <a:lstStyle/>
          <a:p>
            <a:pPr algn="ctr"/>
            <a:endParaRPr lang="en-US"/>
          </a:p>
        </p:txBody>
      </p:sp>
      <p:sp>
        <p:nvSpPr>
          <p:cNvPr id="11" name="Rectangle 10">
            <a:extLst>
              <a:ext uri="{FF2B5EF4-FFF2-40B4-BE49-F238E27FC236}">
                <a16:creationId xmlns:a16="http://schemas.microsoft.com/office/drawing/2014/main" id="{7F1298A5-8704-0A24-B4AF-177AA46033DA}"/>
              </a:ext>
            </a:extLst>
          </p:cNvPr>
          <p:cNvSpPr/>
          <p:nvPr/>
        </p:nvSpPr>
        <p:spPr bwMode="auto">
          <a:xfrm>
            <a:off x="1741487" y="4609261"/>
            <a:ext cx="6648751" cy="1420835"/>
          </a:xfrm>
          <a:prstGeom prst="rect">
            <a:avLst/>
          </a:prstGeom>
          <a:noFill/>
          <a:ln w="38100">
            <a:solidFill>
              <a:srgbClr val="FF0000"/>
            </a:solidFill>
            <a:prstDash val="solid"/>
            <a:miter lim="800000"/>
            <a:headEnd/>
            <a:tailEnd/>
          </a:ln>
        </p:spPr>
        <p:txBody>
          <a:bodyPr rtlCol="0" anchor="ctr"/>
          <a:lstStyle/>
          <a:p>
            <a:pPr algn="ctr"/>
            <a:endParaRPr lang="en-US"/>
          </a:p>
        </p:txBody>
      </p:sp>
    </p:spTree>
    <p:extLst>
      <p:ext uri="{BB962C8B-B14F-4D97-AF65-F5344CB8AC3E}">
        <p14:creationId xmlns:p14="http://schemas.microsoft.com/office/powerpoint/2010/main" val="2367339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C55252-4C37-D743-C290-7AE539A2B75E}"/>
              </a:ext>
            </a:extLst>
          </p:cNvPr>
          <p:cNvSpPr>
            <a:spLocks noGrp="1"/>
          </p:cNvSpPr>
          <p:nvPr>
            <p:ph type="body" sz="quarter" idx="19"/>
          </p:nvPr>
        </p:nvSpPr>
        <p:spPr/>
        <p:txBody>
          <a:bodyPr/>
          <a:lstStyle/>
          <a:p>
            <a:r>
              <a:rPr lang="en-US" dirty="0"/>
              <a:t>Why use an ERV for Ventilation?</a:t>
            </a:r>
          </a:p>
        </p:txBody>
      </p:sp>
      <p:pic>
        <p:nvPicPr>
          <p:cNvPr id="6" name="Picture 5">
            <a:extLst>
              <a:ext uri="{FF2B5EF4-FFF2-40B4-BE49-F238E27FC236}">
                <a16:creationId xmlns:a16="http://schemas.microsoft.com/office/drawing/2014/main" id="{D9A5EC38-6FEA-2EF2-C40F-A334B09F10B1}"/>
              </a:ext>
            </a:extLst>
          </p:cNvPr>
          <p:cNvPicPr>
            <a:picLocks noChangeAspect="1"/>
          </p:cNvPicPr>
          <p:nvPr/>
        </p:nvPicPr>
        <p:blipFill>
          <a:blip r:embed="rId2"/>
          <a:stretch>
            <a:fillRect/>
          </a:stretch>
        </p:blipFill>
        <p:spPr>
          <a:xfrm>
            <a:off x="4724992" y="3889805"/>
            <a:ext cx="5115933" cy="2789382"/>
          </a:xfrm>
          <a:prstGeom prst="rect">
            <a:avLst/>
          </a:prstGeom>
        </p:spPr>
      </p:pic>
      <p:sp>
        <p:nvSpPr>
          <p:cNvPr id="11" name="텍스트 개체 틀 3">
            <a:extLst>
              <a:ext uri="{FF2B5EF4-FFF2-40B4-BE49-F238E27FC236}">
                <a16:creationId xmlns:a16="http://schemas.microsoft.com/office/drawing/2014/main" id="{AB5F4E94-D255-6B3C-63C6-9FF3B1F6B98F}"/>
              </a:ext>
            </a:extLst>
          </p:cNvPr>
          <p:cNvSpPr txBox="1">
            <a:spLocks/>
          </p:cNvSpPr>
          <p:nvPr/>
        </p:nvSpPr>
        <p:spPr>
          <a:xfrm>
            <a:off x="278422" y="748127"/>
            <a:ext cx="9342438" cy="3274743"/>
          </a:xfrm>
          <a:prstGeom prst="rect">
            <a:avLst/>
          </a:prstGeom>
        </p:spPr>
        <p:txBody>
          <a:bodyPr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600" u="none"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028700" lvl="1">
              <a:buFont typeface="Arial" panose="020B0604020202020204" pitchFamily="34" charset="0"/>
              <a:buChar char="•"/>
            </a:pPr>
            <a:r>
              <a:rPr lang="en-US" altLang="ko-KR" dirty="0"/>
              <a:t>2019 ASHRAE 90.1 Energy Standard requires ERV for apartments and condos</a:t>
            </a:r>
          </a:p>
          <a:p>
            <a:pPr marL="1028700" lvl="1">
              <a:buFont typeface="Arial" panose="020B0604020202020204" pitchFamily="34" charset="0"/>
              <a:buChar char="•"/>
            </a:pPr>
            <a:r>
              <a:rPr lang="en-US" altLang="ko-KR" dirty="0"/>
              <a:t>NE and NW regions of US now have codes that require ERV for apartments and condos</a:t>
            </a:r>
          </a:p>
          <a:p>
            <a:pPr marL="1028700" lvl="1">
              <a:buFont typeface="Arial" panose="020B0604020202020204" pitchFamily="34" charset="0"/>
              <a:buChar char="•"/>
            </a:pPr>
            <a:r>
              <a:rPr lang="en-US" altLang="ko-KR" dirty="0"/>
              <a:t>ERV provides energy efficient means to bring in outdoor air while extracting the heat from exhaust air</a:t>
            </a:r>
          </a:p>
          <a:p>
            <a:pPr marL="1028700" lvl="1">
              <a:buFont typeface="Arial" panose="020B0604020202020204" pitchFamily="34" charset="0"/>
              <a:buChar char="•"/>
            </a:pPr>
            <a:endParaRPr lang="en-US" altLang="ko-KR" dirty="0"/>
          </a:p>
        </p:txBody>
      </p:sp>
      <p:pic>
        <p:nvPicPr>
          <p:cNvPr id="12" name="Picture 11">
            <a:extLst>
              <a:ext uri="{FF2B5EF4-FFF2-40B4-BE49-F238E27FC236}">
                <a16:creationId xmlns:a16="http://schemas.microsoft.com/office/drawing/2014/main" id="{8FFBCB57-6874-9DB1-B4F3-6045499BB421}"/>
              </a:ext>
            </a:extLst>
          </p:cNvPr>
          <p:cNvPicPr>
            <a:picLocks noChangeAspect="1"/>
          </p:cNvPicPr>
          <p:nvPr/>
        </p:nvPicPr>
        <p:blipFill>
          <a:blip r:embed="rId3"/>
          <a:stretch>
            <a:fillRect/>
          </a:stretch>
        </p:blipFill>
        <p:spPr>
          <a:xfrm>
            <a:off x="82053" y="3889805"/>
            <a:ext cx="4439019" cy="2803902"/>
          </a:xfrm>
          <a:prstGeom prst="rect">
            <a:avLst/>
          </a:prstGeom>
        </p:spPr>
      </p:pic>
    </p:spTree>
    <p:extLst>
      <p:ext uri="{BB962C8B-B14F-4D97-AF65-F5344CB8AC3E}">
        <p14:creationId xmlns:p14="http://schemas.microsoft.com/office/powerpoint/2010/main" val="3907908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텍스트 개체 틀 1"/>
          <p:cNvSpPr>
            <a:spLocks noGrp="1"/>
          </p:cNvSpPr>
          <p:nvPr>
            <p:ph type="body" sz="quarter" idx="19"/>
          </p:nvPr>
        </p:nvSpPr>
        <p:spPr>
          <a:xfrm>
            <a:off x="276743" y="164293"/>
            <a:ext cx="7410990" cy="369332"/>
          </a:xfrm>
        </p:spPr>
        <p:txBody>
          <a:bodyPr/>
          <a:lstStyle/>
          <a:p>
            <a:r>
              <a:rPr lang="en-US" altLang="ko-KR" dirty="0"/>
              <a:t>ERV vs. Natural Ventilation</a:t>
            </a:r>
          </a:p>
        </p:txBody>
      </p:sp>
      <p:sp>
        <p:nvSpPr>
          <p:cNvPr id="62" name="텍스트 개체 틀 6"/>
          <p:cNvSpPr>
            <a:spLocks noGrp="1"/>
          </p:cNvSpPr>
          <p:nvPr>
            <p:ph type="body" sz="quarter" idx="21"/>
          </p:nvPr>
        </p:nvSpPr>
        <p:spPr>
          <a:xfrm>
            <a:off x="133571" y="748127"/>
            <a:ext cx="9698497" cy="492443"/>
          </a:xfrm>
        </p:spPr>
        <p:txBody>
          <a:bodyPr/>
          <a:lstStyle/>
          <a:p>
            <a:r>
              <a:rPr lang="en-US" altLang="ko-KR" dirty="0"/>
              <a:t>Natural ventilation will result in energy loss in cooling and heating, when exhausting the indoor air. </a:t>
            </a:r>
            <a:br>
              <a:rPr lang="en-US" altLang="ko-KR" dirty="0"/>
            </a:br>
            <a:r>
              <a:rPr lang="en-US" altLang="ko-KR" dirty="0"/>
              <a:t>ERV collects energy in cooling and heating for energy saving while supplying outdoor air</a:t>
            </a:r>
          </a:p>
        </p:txBody>
      </p:sp>
      <p:pic>
        <p:nvPicPr>
          <p:cNvPr id="63" name="그림 6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382377"/>
            <a:ext cx="9906000" cy="5470244"/>
          </a:xfrm>
          <a:prstGeom prst="rect">
            <a:avLst/>
          </a:prstGeom>
        </p:spPr>
      </p:pic>
      <p:sp>
        <p:nvSpPr>
          <p:cNvPr id="64" name="자유형 63"/>
          <p:cNvSpPr/>
          <p:nvPr/>
        </p:nvSpPr>
        <p:spPr>
          <a:xfrm>
            <a:off x="2586285" y="1346221"/>
            <a:ext cx="4817816" cy="3593723"/>
          </a:xfrm>
          <a:custGeom>
            <a:avLst/>
            <a:gdLst>
              <a:gd name="connsiteX0" fmla="*/ 2440485 w 4880970"/>
              <a:gd name="connsiteY0" fmla="*/ 0 h 3906721"/>
              <a:gd name="connsiteX1" fmla="*/ 4880970 w 4880970"/>
              <a:gd name="connsiteY1" fmla="*/ 2440485 h 3906721"/>
              <a:gd name="connsiteX2" fmla="*/ 4464174 w 4880970"/>
              <a:gd name="connsiteY2" fmla="*/ 3804984 h 3906721"/>
              <a:gd name="connsiteX3" fmla="*/ 4388096 w 4880970"/>
              <a:gd name="connsiteY3" fmla="*/ 3906721 h 3906721"/>
              <a:gd name="connsiteX4" fmla="*/ 492874 w 4880970"/>
              <a:gd name="connsiteY4" fmla="*/ 3906721 h 3906721"/>
              <a:gd name="connsiteX5" fmla="*/ 416797 w 4880970"/>
              <a:gd name="connsiteY5" fmla="*/ 3804984 h 3906721"/>
              <a:gd name="connsiteX6" fmla="*/ 0 w 4880970"/>
              <a:gd name="connsiteY6" fmla="*/ 2440485 h 3906721"/>
              <a:gd name="connsiteX7" fmla="*/ 2440485 w 4880970"/>
              <a:gd name="connsiteY7" fmla="*/ 0 h 390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80970" h="3906721">
                <a:moveTo>
                  <a:pt x="2440485" y="0"/>
                </a:moveTo>
                <a:cubicBezTo>
                  <a:pt x="3788328" y="0"/>
                  <a:pt x="4880970" y="1092642"/>
                  <a:pt x="4880970" y="2440485"/>
                </a:cubicBezTo>
                <a:cubicBezTo>
                  <a:pt x="4880970" y="2945926"/>
                  <a:pt x="4727317" y="3415480"/>
                  <a:pt x="4464174" y="3804984"/>
                </a:cubicBezTo>
                <a:lnTo>
                  <a:pt x="4388096" y="3906721"/>
                </a:lnTo>
                <a:lnTo>
                  <a:pt x="492874" y="3906721"/>
                </a:lnTo>
                <a:lnTo>
                  <a:pt x="416797" y="3804984"/>
                </a:lnTo>
                <a:cubicBezTo>
                  <a:pt x="153653" y="3415480"/>
                  <a:pt x="0" y="2945926"/>
                  <a:pt x="0" y="2440485"/>
                </a:cubicBezTo>
                <a:cubicBezTo>
                  <a:pt x="0" y="1092642"/>
                  <a:pt x="1092642" y="0"/>
                  <a:pt x="2440485" y="0"/>
                </a:cubicBezTo>
                <a:close/>
              </a:path>
            </a:pathLst>
          </a:custGeom>
          <a:gradFill flip="none" rotWithShape="1">
            <a:gsLst>
              <a:gs pos="0">
                <a:schemeClr val="accent1">
                  <a:lumMod val="40000"/>
                  <a:lumOff val="60000"/>
                </a:schemeClr>
              </a:gs>
              <a:gs pos="40000">
                <a:schemeClr val="accent1">
                  <a:lumMod val="40000"/>
                  <a:lumOff val="60000"/>
                  <a:alpha val="62000"/>
                </a:schemeClr>
              </a:gs>
              <a:gs pos="100000">
                <a:schemeClr val="accent1">
                  <a:lumMod val="40000"/>
                  <a:lumOff val="60000"/>
                  <a:alpha val="0"/>
                </a:schemeClr>
              </a:gs>
            </a:gsLst>
            <a:path path="circle">
              <a:fillToRect l="50000" t="50000" r="50000" b="50000"/>
            </a:path>
            <a:tileRect/>
          </a:gra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65" name="자유형 64"/>
          <p:cNvSpPr/>
          <p:nvPr/>
        </p:nvSpPr>
        <p:spPr>
          <a:xfrm flipH="1">
            <a:off x="3155505" y="2905858"/>
            <a:ext cx="859885" cy="1679330"/>
          </a:xfrm>
          <a:custGeom>
            <a:avLst/>
            <a:gdLst>
              <a:gd name="connsiteX0" fmla="*/ 1195754 w 1195754"/>
              <a:gd name="connsiteY0" fmla="*/ 0 h 1951892"/>
              <a:gd name="connsiteX1" fmla="*/ 0 w 1195754"/>
              <a:gd name="connsiteY1" fmla="*/ 958362 h 1951892"/>
              <a:gd name="connsiteX2" fmla="*/ 1143000 w 1195754"/>
              <a:gd name="connsiteY2" fmla="*/ 1951892 h 1951892"/>
              <a:gd name="connsiteX3" fmla="*/ 1055077 w 1195754"/>
              <a:gd name="connsiteY3" fmla="*/ 158262 h 1951892"/>
              <a:gd name="connsiteX0" fmla="*/ 936660 w 1143000"/>
              <a:gd name="connsiteY0" fmla="*/ 58908 h 1793630"/>
              <a:gd name="connsiteX1" fmla="*/ 0 w 1143000"/>
              <a:gd name="connsiteY1" fmla="*/ 800100 h 1793630"/>
              <a:gd name="connsiteX2" fmla="*/ 1143000 w 1143000"/>
              <a:gd name="connsiteY2" fmla="*/ 1793630 h 1793630"/>
              <a:gd name="connsiteX3" fmla="*/ 1055077 w 1143000"/>
              <a:gd name="connsiteY3" fmla="*/ 0 h 1793630"/>
              <a:gd name="connsiteX0" fmla="*/ 936660 w 1143000"/>
              <a:gd name="connsiteY0" fmla="*/ 0 h 1734722"/>
              <a:gd name="connsiteX1" fmla="*/ 0 w 1143000"/>
              <a:gd name="connsiteY1" fmla="*/ 741192 h 1734722"/>
              <a:gd name="connsiteX2" fmla="*/ 1143000 w 1143000"/>
              <a:gd name="connsiteY2" fmla="*/ 1734722 h 1734722"/>
              <a:gd name="connsiteX3" fmla="*/ 977349 w 1143000"/>
              <a:gd name="connsiteY3" fmla="*/ 21102 h 1734722"/>
              <a:gd name="connsiteX0" fmla="*/ 936660 w 977349"/>
              <a:gd name="connsiteY0" fmla="*/ 0 h 1631852"/>
              <a:gd name="connsiteX1" fmla="*/ 0 w 977349"/>
              <a:gd name="connsiteY1" fmla="*/ 741192 h 1631852"/>
              <a:gd name="connsiteX2" fmla="*/ 935725 w 977349"/>
              <a:gd name="connsiteY2" fmla="*/ 1631852 h 1631852"/>
              <a:gd name="connsiteX3" fmla="*/ 977349 w 977349"/>
              <a:gd name="connsiteY3" fmla="*/ 21102 h 1631852"/>
              <a:gd name="connsiteX0" fmla="*/ 936660 w 938485"/>
              <a:gd name="connsiteY0" fmla="*/ 0 h 1631852"/>
              <a:gd name="connsiteX1" fmla="*/ 0 w 938485"/>
              <a:gd name="connsiteY1" fmla="*/ 741192 h 1631852"/>
              <a:gd name="connsiteX2" fmla="*/ 935725 w 938485"/>
              <a:gd name="connsiteY2" fmla="*/ 1631852 h 1631852"/>
              <a:gd name="connsiteX3" fmla="*/ 938485 w 938485"/>
              <a:gd name="connsiteY3" fmla="*/ 21102 h 1631852"/>
              <a:gd name="connsiteX0" fmla="*/ 936660 w 974589"/>
              <a:gd name="connsiteY0" fmla="*/ 0 h 1677572"/>
              <a:gd name="connsiteX1" fmla="*/ 0 w 974589"/>
              <a:gd name="connsiteY1" fmla="*/ 741192 h 1677572"/>
              <a:gd name="connsiteX2" fmla="*/ 974589 w 974589"/>
              <a:gd name="connsiteY2" fmla="*/ 1677572 h 1677572"/>
              <a:gd name="connsiteX3" fmla="*/ 938485 w 974589"/>
              <a:gd name="connsiteY3" fmla="*/ 21102 h 1677572"/>
              <a:gd name="connsiteX0" fmla="*/ 936660 w 974589"/>
              <a:gd name="connsiteY0" fmla="*/ 0 h 1677572"/>
              <a:gd name="connsiteX1" fmla="*/ 0 w 974589"/>
              <a:gd name="connsiteY1" fmla="*/ 741192 h 1677572"/>
              <a:gd name="connsiteX2" fmla="*/ 974589 w 974589"/>
              <a:gd name="connsiteY2" fmla="*/ 1677572 h 1677572"/>
              <a:gd name="connsiteX3" fmla="*/ 951439 w 974589"/>
              <a:gd name="connsiteY3" fmla="*/ 78252 h 1677572"/>
              <a:gd name="connsiteX0" fmla="*/ 936660 w 974589"/>
              <a:gd name="connsiteY0" fmla="*/ 0 h 1654712"/>
              <a:gd name="connsiteX1" fmla="*/ 0 w 974589"/>
              <a:gd name="connsiteY1" fmla="*/ 718332 h 1654712"/>
              <a:gd name="connsiteX2" fmla="*/ 974589 w 974589"/>
              <a:gd name="connsiteY2" fmla="*/ 1654712 h 1654712"/>
              <a:gd name="connsiteX3" fmla="*/ 951439 w 974589"/>
              <a:gd name="connsiteY3" fmla="*/ 55392 h 1654712"/>
              <a:gd name="connsiteX0" fmla="*/ 936660 w 974589"/>
              <a:gd name="connsiteY0" fmla="*/ 24618 h 1679330"/>
              <a:gd name="connsiteX1" fmla="*/ 0 w 974589"/>
              <a:gd name="connsiteY1" fmla="*/ 742950 h 1679330"/>
              <a:gd name="connsiteX2" fmla="*/ 974589 w 974589"/>
              <a:gd name="connsiteY2" fmla="*/ 1679330 h 1679330"/>
              <a:gd name="connsiteX3" fmla="*/ 938485 w 974589"/>
              <a:gd name="connsiteY3" fmla="*/ 0 h 1679330"/>
            </a:gdLst>
            <a:ahLst/>
            <a:cxnLst>
              <a:cxn ang="0">
                <a:pos x="connsiteX0" y="connsiteY0"/>
              </a:cxn>
              <a:cxn ang="0">
                <a:pos x="connsiteX1" y="connsiteY1"/>
              </a:cxn>
              <a:cxn ang="0">
                <a:pos x="connsiteX2" y="connsiteY2"/>
              </a:cxn>
              <a:cxn ang="0">
                <a:pos x="connsiteX3" y="connsiteY3"/>
              </a:cxn>
            </a:cxnLst>
            <a:rect l="l" t="t" r="r" b="b"/>
            <a:pathLst>
              <a:path w="974589" h="1679330">
                <a:moveTo>
                  <a:pt x="936660" y="24618"/>
                </a:moveTo>
                <a:lnTo>
                  <a:pt x="0" y="742950"/>
                </a:lnTo>
                <a:lnTo>
                  <a:pt x="974589" y="1679330"/>
                </a:lnTo>
                <a:lnTo>
                  <a:pt x="938485" y="0"/>
                </a:lnTo>
              </a:path>
            </a:pathLst>
          </a:cu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spcCol="0"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66" name="자유형 65"/>
          <p:cNvSpPr/>
          <p:nvPr/>
        </p:nvSpPr>
        <p:spPr>
          <a:xfrm>
            <a:off x="5863237" y="2919046"/>
            <a:ext cx="1065978" cy="1574702"/>
          </a:xfrm>
          <a:custGeom>
            <a:avLst/>
            <a:gdLst>
              <a:gd name="connsiteX0" fmla="*/ 1195754 w 1195754"/>
              <a:gd name="connsiteY0" fmla="*/ 0 h 1951892"/>
              <a:gd name="connsiteX1" fmla="*/ 0 w 1195754"/>
              <a:gd name="connsiteY1" fmla="*/ 958362 h 1951892"/>
              <a:gd name="connsiteX2" fmla="*/ 1143000 w 1195754"/>
              <a:gd name="connsiteY2" fmla="*/ 1951892 h 1951892"/>
              <a:gd name="connsiteX3" fmla="*/ 1055077 w 1195754"/>
              <a:gd name="connsiteY3" fmla="*/ 158262 h 1951892"/>
              <a:gd name="connsiteX0" fmla="*/ 990053 w 1143000"/>
              <a:gd name="connsiteY0" fmla="*/ 24618 h 1793630"/>
              <a:gd name="connsiteX1" fmla="*/ 0 w 1143000"/>
              <a:gd name="connsiteY1" fmla="*/ 800100 h 1793630"/>
              <a:gd name="connsiteX2" fmla="*/ 1143000 w 1143000"/>
              <a:gd name="connsiteY2" fmla="*/ 1793630 h 1793630"/>
              <a:gd name="connsiteX3" fmla="*/ 1055077 w 1143000"/>
              <a:gd name="connsiteY3" fmla="*/ 0 h 1793630"/>
              <a:gd name="connsiteX0" fmla="*/ 990053 w 1143000"/>
              <a:gd name="connsiteY0" fmla="*/ 1758 h 1770770"/>
              <a:gd name="connsiteX1" fmla="*/ 0 w 1143000"/>
              <a:gd name="connsiteY1" fmla="*/ 777240 h 1770770"/>
              <a:gd name="connsiteX2" fmla="*/ 1143000 w 1143000"/>
              <a:gd name="connsiteY2" fmla="*/ 1770770 h 1770770"/>
              <a:gd name="connsiteX3" fmla="*/ 993367 w 1143000"/>
              <a:gd name="connsiteY3" fmla="*/ 0 h 1770770"/>
              <a:gd name="connsiteX0" fmla="*/ 990053 w 993367"/>
              <a:gd name="connsiteY0" fmla="*/ 1758 h 1622180"/>
              <a:gd name="connsiteX1" fmla="*/ 0 w 993367"/>
              <a:gd name="connsiteY1" fmla="*/ 777240 h 1622180"/>
              <a:gd name="connsiteX2" fmla="*/ 927014 w 993367"/>
              <a:gd name="connsiteY2" fmla="*/ 1622180 h 1622180"/>
              <a:gd name="connsiteX3" fmla="*/ 993367 w 993367"/>
              <a:gd name="connsiteY3" fmla="*/ 0 h 1622180"/>
              <a:gd name="connsiteX0" fmla="*/ 990053 w 990053"/>
              <a:gd name="connsiteY0" fmla="*/ 0 h 1620422"/>
              <a:gd name="connsiteX1" fmla="*/ 0 w 990053"/>
              <a:gd name="connsiteY1" fmla="*/ 775482 h 1620422"/>
              <a:gd name="connsiteX2" fmla="*/ 927014 w 990053"/>
              <a:gd name="connsiteY2" fmla="*/ 1620422 h 1620422"/>
              <a:gd name="connsiteX3" fmla="*/ 931657 w 990053"/>
              <a:gd name="connsiteY3" fmla="*/ 32532 h 1620422"/>
              <a:gd name="connsiteX0" fmla="*/ 907773 w 931657"/>
              <a:gd name="connsiteY0" fmla="*/ 13188 h 1587890"/>
              <a:gd name="connsiteX1" fmla="*/ 0 w 931657"/>
              <a:gd name="connsiteY1" fmla="*/ 742950 h 1587890"/>
              <a:gd name="connsiteX2" fmla="*/ 927014 w 931657"/>
              <a:gd name="connsiteY2" fmla="*/ 1587890 h 1587890"/>
              <a:gd name="connsiteX3" fmla="*/ 931657 w 931657"/>
              <a:gd name="connsiteY3" fmla="*/ 0 h 1587890"/>
              <a:gd name="connsiteX0" fmla="*/ 907773 w 952227"/>
              <a:gd name="connsiteY0" fmla="*/ 0 h 1574702"/>
              <a:gd name="connsiteX1" fmla="*/ 0 w 952227"/>
              <a:gd name="connsiteY1" fmla="*/ 729762 h 1574702"/>
              <a:gd name="connsiteX2" fmla="*/ 927014 w 952227"/>
              <a:gd name="connsiteY2" fmla="*/ 1574702 h 1574702"/>
              <a:gd name="connsiteX3" fmla="*/ 952227 w 952227"/>
              <a:gd name="connsiteY3" fmla="*/ 9672 h 1574702"/>
              <a:gd name="connsiteX0" fmla="*/ 959198 w 959198"/>
              <a:gd name="connsiteY0" fmla="*/ 0 h 1574702"/>
              <a:gd name="connsiteX1" fmla="*/ 0 w 959198"/>
              <a:gd name="connsiteY1" fmla="*/ 729762 h 1574702"/>
              <a:gd name="connsiteX2" fmla="*/ 927014 w 959198"/>
              <a:gd name="connsiteY2" fmla="*/ 1574702 h 1574702"/>
              <a:gd name="connsiteX3" fmla="*/ 952227 w 959198"/>
              <a:gd name="connsiteY3" fmla="*/ 9672 h 1574702"/>
            </a:gdLst>
            <a:ahLst/>
            <a:cxnLst>
              <a:cxn ang="0">
                <a:pos x="connsiteX0" y="connsiteY0"/>
              </a:cxn>
              <a:cxn ang="0">
                <a:pos x="connsiteX1" y="connsiteY1"/>
              </a:cxn>
              <a:cxn ang="0">
                <a:pos x="connsiteX2" y="connsiteY2"/>
              </a:cxn>
              <a:cxn ang="0">
                <a:pos x="connsiteX3" y="connsiteY3"/>
              </a:cxn>
            </a:cxnLst>
            <a:rect l="l" t="t" r="r" b="b"/>
            <a:pathLst>
              <a:path w="959198" h="1574702">
                <a:moveTo>
                  <a:pt x="959198" y="0"/>
                </a:moveTo>
                <a:lnTo>
                  <a:pt x="0" y="729762"/>
                </a:lnTo>
                <a:lnTo>
                  <a:pt x="927014" y="1574702"/>
                </a:lnTo>
                <a:cubicBezTo>
                  <a:pt x="928562" y="1045405"/>
                  <a:pt x="950679" y="538969"/>
                  <a:pt x="952227" y="9672"/>
                </a:cubicBezTo>
              </a:path>
            </a:pathLst>
          </a:cu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spcCol="0"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67" name="타원 66"/>
          <p:cNvSpPr/>
          <p:nvPr/>
        </p:nvSpPr>
        <p:spPr>
          <a:xfrm>
            <a:off x="6529174" y="2308766"/>
            <a:ext cx="2880000" cy="2880000"/>
          </a:xfrm>
          <a:prstGeom prst="ellipse">
            <a:avLst/>
          </a:prstGeom>
          <a:gradFill flip="none" rotWithShape="1">
            <a:gsLst>
              <a:gs pos="0">
                <a:schemeClr val="accent1">
                  <a:lumMod val="40000"/>
                  <a:lumOff val="60000"/>
                </a:schemeClr>
              </a:gs>
              <a:gs pos="85000">
                <a:schemeClr val="bg1">
                  <a:lumMod val="89000"/>
                </a:schemeClr>
              </a:gs>
            </a:gsLst>
            <a:lin ang="10800000" scaled="1"/>
            <a:tileRect/>
          </a:gradFill>
          <a:ln w="57150">
            <a:noFill/>
          </a:ln>
          <a:effectLst>
            <a:innerShdw blurRad="101600">
              <a:schemeClr val="bg1">
                <a:lumMod val="8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68" name="Text Box 35"/>
          <p:cNvSpPr txBox="1">
            <a:spLocks noChangeArrowheads="1"/>
          </p:cNvSpPr>
          <p:nvPr/>
        </p:nvSpPr>
        <p:spPr bwMode="auto">
          <a:xfrm>
            <a:off x="954851" y="1508830"/>
            <a:ext cx="3037600" cy="646331"/>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4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r>
              <a:rPr lang="en-US" altLang="ko-KR" sz="1800" dirty="0">
                <a:gradFill>
                  <a:gsLst>
                    <a:gs pos="0">
                      <a:srgbClr val="BB0250"/>
                    </a:gs>
                    <a:gs pos="100000">
                      <a:srgbClr val="C60751"/>
                    </a:gs>
                  </a:gsLst>
                  <a:lin ang="5400000" scaled="1"/>
                </a:gradFill>
                <a:latin typeface="Arial" panose="020B0604020202020204" pitchFamily="34" charset="0"/>
                <a:cs typeface="Arial" panose="020B0604020202020204" pitchFamily="34" charset="0"/>
              </a:rPr>
              <a:t>Energy Recovery Ventilation (ERV)</a:t>
            </a:r>
          </a:p>
        </p:txBody>
      </p:sp>
      <p:pic>
        <p:nvPicPr>
          <p:cNvPr id="69" name="그림 68"/>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a:xfrm>
            <a:off x="4947303" y="2245712"/>
            <a:ext cx="1211746" cy="2311437"/>
          </a:xfrm>
          <a:custGeom>
            <a:avLst/>
            <a:gdLst>
              <a:gd name="connsiteX0" fmla="*/ 706124 w 1211746"/>
              <a:gd name="connsiteY0" fmla="*/ 0 h 2311437"/>
              <a:gd name="connsiteX1" fmla="*/ 706125 w 1211746"/>
              <a:gd name="connsiteY1" fmla="*/ 183179 h 2311437"/>
              <a:gd name="connsiteX2" fmla="*/ 843070 w 1211746"/>
              <a:gd name="connsiteY2" fmla="*/ 187929 h 2311437"/>
              <a:gd name="connsiteX3" fmla="*/ 1211746 w 1211746"/>
              <a:gd name="connsiteY3" fmla="*/ 972814 h 2311437"/>
              <a:gd name="connsiteX4" fmla="*/ 904087 w 1211746"/>
              <a:gd name="connsiteY4" fmla="*/ 970776 h 2311437"/>
              <a:gd name="connsiteX5" fmla="*/ 908849 w 1211746"/>
              <a:gd name="connsiteY5" fmla="*/ 2300272 h 2311437"/>
              <a:gd name="connsiteX6" fmla="*/ 0 w 1211746"/>
              <a:gd name="connsiteY6" fmla="*/ 2311437 h 2311437"/>
              <a:gd name="connsiteX7" fmla="*/ 320 w 1211746"/>
              <a:gd name="connsiteY7" fmla="*/ 195786 h 2311437"/>
              <a:gd name="connsiteX8" fmla="*/ 354649 w 1211746"/>
              <a:gd name="connsiteY8" fmla="*/ 193960 h 2311437"/>
              <a:gd name="connsiteX9" fmla="*/ 354648 w 1211746"/>
              <a:gd name="connsiteY9" fmla="*/ 3 h 231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746" h="2311437">
                <a:moveTo>
                  <a:pt x="706124" y="0"/>
                </a:moveTo>
                <a:cubicBezTo>
                  <a:pt x="704537" y="75347"/>
                  <a:pt x="707712" y="107832"/>
                  <a:pt x="706125" y="183179"/>
                </a:cubicBezTo>
                <a:lnTo>
                  <a:pt x="843070" y="187929"/>
                </a:lnTo>
                <a:lnTo>
                  <a:pt x="1211746" y="972814"/>
                </a:lnTo>
                <a:lnTo>
                  <a:pt x="904087" y="970776"/>
                </a:lnTo>
                <a:cubicBezTo>
                  <a:pt x="905674" y="1428229"/>
                  <a:pt x="907262" y="1842819"/>
                  <a:pt x="908849" y="2300272"/>
                </a:cubicBezTo>
                <a:lnTo>
                  <a:pt x="0" y="2311437"/>
                </a:lnTo>
                <a:cubicBezTo>
                  <a:pt x="729" y="2203522"/>
                  <a:pt x="4183" y="346559"/>
                  <a:pt x="320" y="195786"/>
                </a:cubicBezTo>
                <a:lnTo>
                  <a:pt x="354649" y="193960"/>
                </a:lnTo>
                <a:cubicBezTo>
                  <a:pt x="353061" y="122958"/>
                  <a:pt x="356236" y="71005"/>
                  <a:pt x="354648" y="3"/>
                </a:cubicBezTo>
                <a:close/>
              </a:path>
            </a:pathLst>
          </a:custGeom>
        </p:spPr>
      </p:pic>
      <p:pic>
        <p:nvPicPr>
          <p:cNvPr id="70" name="그림 69"/>
          <p:cNvPicPr>
            <a:picLocks noChangeAspect="1"/>
          </p:cNvPicPr>
          <p:nvPr/>
        </p:nvPicPr>
        <p:blipFill>
          <a:blip r:embed="rId4"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a:xfrm>
            <a:off x="3747804" y="2453292"/>
            <a:ext cx="1209083" cy="2104485"/>
          </a:xfrm>
          <a:custGeom>
            <a:avLst/>
            <a:gdLst>
              <a:gd name="connsiteX0" fmla="*/ 1206661 w 1209083"/>
              <a:gd name="connsiteY0" fmla="*/ 0 h 2104485"/>
              <a:gd name="connsiteX1" fmla="*/ 1209083 w 1209083"/>
              <a:gd name="connsiteY1" fmla="*/ 1728 h 2104485"/>
              <a:gd name="connsiteX2" fmla="*/ 1209083 w 1209083"/>
              <a:gd name="connsiteY2" fmla="*/ 2103720 h 2104485"/>
              <a:gd name="connsiteX3" fmla="*/ 298132 w 1209083"/>
              <a:gd name="connsiteY3" fmla="*/ 2104485 h 2104485"/>
              <a:gd name="connsiteX4" fmla="*/ 288607 w 1209083"/>
              <a:gd name="connsiteY4" fmla="*/ 755939 h 2104485"/>
              <a:gd name="connsiteX5" fmla="*/ 0 w 1209083"/>
              <a:gd name="connsiteY5" fmla="*/ 755939 h 2104485"/>
              <a:gd name="connsiteX6" fmla="*/ 361950 w 1209083"/>
              <a:gd name="connsiteY6" fmla="*/ 15027 h 210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083" h="2104485">
                <a:moveTo>
                  <a:pt x="1206661" y="0"/>
                </a:moveTo>
                <a:lnTo>
                  <a:pt x="1209083" y="1728"/>
                </a:lnTo>
                <a:lnTo>
                  <a:pt x="1209083" y="2103720"/>
                </a:lnTo>
                <a:lnTo>
                  <a:pt x="298132" y="2104485"/>
                </a:lnTo>
                <a:cubicBezTo>
                  <a:pt x="294957" y="1654970"/>
                  <a:pt x="291782" y="1205455"/>
                  <a:pt x="288607" y="755939"/>
                </a:cubicBezTo>
                <a:lnTo>
                  <a:pt x="0" y="755939"/>
                </a:lnTo>
                <a:lnTo>
                  <a:pt x="361950" y="15027"/>
                </a:lnTo>
                <a:close/>
              </a:path>
            </a:pathLst>
          </a:custGeom>
        </p:spPr>
      </p:pic>
      <p:sp>
        <p:nvSpPr>
          <p:cNvPr id="71" name="자유형 70"/>
          <p:cNvSpPr/>
          <p:nvPr/>
        </p:nvSpPr>
        <p:spPr>
          <a:xfrm>
            <a:off x="3761316" y="2245712"/>
            <a:ext cx="2403323" cy="2300272"/>
          </a:xfrm>
          <a:custGeom>
            <a:avLst/>
            <a:gdLst>
              <a:gd name="connsiteX0" fmla="*/ 106680 w 1684020"/>
              <a:gd name="connsiteY0" fmla="*/ 1691640 h 1691640"/>
              <a:gd name="connsiteX1" fmla="*/ 106680 w 1684020"/>
              <a:gd name="connsiteY1" fmla="*/ 906780 h 1691640"/>
              <a:gd name="connsiteX2" fmla="*/ 0 w 1684020"/>
              <a:gd name="connsiteY2" fmla="*/ 906780 h 1691640"/>
              <a:gd name="connsiteX3" fmla="*/ 0 w 1684020"/>
              <a:gd name="connsiteY3" fmla="*/ 601980 h 1691640"/>
              <a:gd name="connsiteX4" fmla="*/ 853440 w 1684020"/>
              <a:gd name="connsiteY4" fmla="*/ 0 h 1691640"/>
              <a:gd name="connsiteX5" fmla="*/ 1219200 w 1684020"/>
              <a:gd name="connsiteY5" fmla="*/ 266700 h 1691640"/>
              <a:gd name="connsiteX6" fmla="*/ 1219200 w 1684020"/>
              <a:gd name="connsiteY6" fmla="*/ 76200 h 1691640"/>
              <a:gd name="connsiteX7" fmla="*/ 1493520 w 1684020"/>
              <a:gd name="connsiteY7" fmla="*/ 76200 h 1691640"/>
              <a:gd name="connsiteX8" fmla="*/ 1493520 w 1684020"/>
              <a:gd name="connsiteY8" fmla="*/ 449580 h 1691640"/>
              <a:gd name="connsiteX9" fmla="*/ 1684020 w 1684020"/>
              <a:gd name="connsiteY9" fmla="*/ 586740 h 1691640"/>
              <a:gd name="connsiteX10" fmla="*/ 1684020 w 1684020"/>
              <a:gd name="connsiteY10" fmla="*/ 883920 h 1691640"/>
              <a:gd name="connsiteX11" fmla="*/ 1592580 w 1684020"/>
              <a:gd name="connsiteY11" fmla="*/ 883920 h 1691640"/>
              <a:gd name="connsiteX12" fmla="*/ 1592580 w 1684020"/>
              <a:gd name="connsiteY12" fmla="*/ 1676400 h 1691640"/>
              <a:gd name="connsiteX0" fmla="*/ 106680 w 1684020"/>
              <a:gd name="connsiteY0" fmla="*/ 1691640 h 1691640"/>
              <a:gd name="connsiteX1" fmla="*/ 106680 w 1684020"/>
              <a:gd name="connsiteY1" fmla="*/ 906780 h 1691640"/>
              <a:gd name="connsiteX2" fmla="*/ 0 w 1684020"/>
              <a:gd name="connsiteY2" fmla="*/ 906780 h 1691640"/>
              <a:gd name="connsiteX3" fmla="*/ 0 w 1684020"/>
              <a:gd name="connsiteY3" fmla="*/ 601980 h 1691640"/>
              <a:gd name="connsiteX4" fmla="*/ 853440 w 1684020"/>
              <a:gd name="connsiteY4" fmla="*/ 0 h 1691640"/>
              <a:gd name="connsiteX5" fmla="*/ 1219200 w 1684020"/>
              <a:gd name="connsiteY5" fmla="*/ 266700 h 1691640"/>
              <a:gd name="connsiteX6" fmla="*/ 1219200 w 1684020"/>
              <a:gd name="connsiteY6" fmla="*/ 76200 h 1691640"/>
              <a:gd name="connsiteX7" fmla="*/ 1493520 w 1684020"/>
              <a:gd name="connsiteY7" fmla="*/ 76200 h 1691640"/>
              <a:gd name="connsiteX8" fmla="*/ 1493520 w 1684020"/>
              <a:gd name="connsiteY8" fmla="*/ 449580 h 1691640"/>
              <a:gd name="connsiteX9" fmla="*/ 1684020 w 1684020"/>
              <a:gd name="connsiteY9" fmla="*/ 586740 h 1691640"/>
              <a:gd name="connsiteX10" fmla="*/ 1684020 w 1684020"/>
              <a:gd name="connsiteY10" fmla="*/ 883920 h 1691640"/>
              <a:gd name="connsiteX11" fmla="*/ 1592580 w 1684020"/>
              <a:gd name="connsiteY11" fmla="*/ 883920 h 1691640"/>
              <a:gd name="connsiteX12" fmla="*/ 1592580 w 1684020"/>
              <a:gd name="connsiteY12" fmla="*/ 1689657 h 1691640"/>
              <a:gd name="connsiteX0" fmla="*/ 106680 w 1684020"/>
              <a:gd name="connsiteY0" fmla="*/ 1691640 h 1692875"/>
              <a:gd name="connsiteX1" fmla="*/ 106680 w 1684020"/>
              <a:gd name="connsiteY1" fmla="*/ 906780 h 1692875"/>
              <a:gd name="connsiteX2" fmla="*/ 0 w 1684020"/>
              <a:gd name="connsiteY2" fmla="*/ 906780 h 1692875"/>
              <a:gd name="connsiteX3" fmla="*/ 0 w 1684020"/>
              <a:gd name="connsiteY3" fmla="*/ 601980 h 1692875"/>
              <a:gd name="connsiteX4" fmla="*/ 853440 w 1684020"/>
              <a:gd name="connsiteY4" fmla="*/ 0 h 1692875"/>
              <a:gd name="connsiteX5" fmla="*/ 1219200 w 1684020"/>
              <a:gd name="connsiteY5" fmla="*/ 266700 h 1692875"/>
              <a:gd name="connsiteX6" fmla="*/ 1219200 w 1684020"/>
              <a:gd name="connsiteY6" fmla="*/ 76200 h 1692875"/>
              <a:gd name="connsiteX7" fmla="*/ 1493520 w 1684020"/>
              <a:gd name="connsiteY7" fmla="*/ 76200 h 1692875"/>
              <a:gd name="connsiteX8" fmla="*/ 1493520 w 1684020"/>
              <a:gd name="connsiteY8" fmla="*/ 449580 h 1692875"/>
              <a:gd name="connsiteX9" fmla="*/ 1684020 w 1684020"/>
              <a:gd name="connsiteY9" fmla="*/ 586740 h 1692875"/>
              <a:gd name="connsiteX10" fmla="*/ 1684020 w 1684020"/>
              <a:gd name="connsiteY10" fmla="*/ 883920 h 1692875"/>
              <a:gd name="connsiteX11" fmla="*/ 1592580 w 1684020"/>
              <a:gd name="connsiteY11" fmla="*/ 883920 h 1692875"/>
              <a:gd name="connsiteX12" fmla="*/ 1592580 w 1684020"/>
              <a:gd name="connsiteY12" fmla="*/ 1692875 h 1692875"/>
              <a:gd name="connsiteX0" fmla="*/ 106680 w 1684020"/>
              <a:gd name="connsiteY0" fmla="*/ 1691640 h 1692875"/>
              <a:gd name="connsiteX1" fmla="*/ 106680 w 1684020"/>
              <a:gd name="connsiteY1" fmla="*/ 906780 h 1692875"/>
              <a:gd name="connsiteX2" fmla="*/ 0 w 1684020"/>
              <a:gd name="connsiteY2" fmla="*/ 906780 h 1692875"/>
              <a:gd name="connsiteX3" fmla="*/ 162732 w 1684020"/>
              <a:gd name="connsiteY3" fmla="*/ 12003 h 1692875"/>
              <a:gd name="connsiteX4" fmla="*/ 853440 w 1684020"/>
              <a:gd name="connsiteY4" fmla="*/ 0 h 1692875"/>
              <a:gd name="connsiteX5" fmla="*/ 1219200 w 1684020"/>
              <a:gd name="connsiteY5" fmla="*/ 266700 h 1692875"/>
              <a:gd name="connsiteX6" fmla="*/ 1219200 w 1684020"/>
              <a:gd name="connsiteY6" fmla="*/ 76200 h 1692875"/>
              <a:gd name="connsiteX7" fmla="*/ 1493520 w 1684020"/>
              <a:gd name="connsiteY7" fmla="*/ 76200 h 1692875"/>
              <a:gd name="connsiteX8" fmla="*/ 1493520 w 1684020"/>
              <a:gd name="connsiteY8" fmla="*/ 449580 h 1692875"/>
              <a:gd name="connsiteX9" fmla="*/ 1684020 w 1684020"/>
              <a:gd name="connsiteY9" fmla="*/ 586740 h 1692875"/>
              <a:gd name="connsiteX10" fmla="*/ 1684020 w 1684020"/>
              <a:gd name="connsiteY10" fmla="*/ 883920 h 1692875"/>
              <a:gd name="connsiteX11" fmla="*/ 1592580 w 1684020"/>
              <a:gd name="connsiteY11" fmla="*/ 883920 h 1692875"/>
              <a:gd name="connsiteX12" fmla="*/ 1592580 w 1684020"/>
              <a:gd name="connsiteY12" fmla="*/ 1692875 h 1692875"/>
              <a:gd name="connsiteX0" fmla="*/ 222917 w 1800257"/>
              <a:gd name="connsiteY0" fmla="*/ 1691640 h 1692875"/>
              <a:gd name="connsiteX1" fmla="*/ 222917 w 1800257"/>
              <a:gd name="connsiteY1" fmla="*/ 906780 h 1692875"/>
              <a:gd name="connsiteX2" fmla="*/ 0 w 1800257"/>
              <a:gd name="connsiteY2" fmla="*/ 611792 h 1692875"/>
              <a:gd name="connsiteX3" fmla="*/ 278969 w 1800257"/>
              <a:gd name="connsiteY3" fmla="*/ 12003 h 1692875"/>
              <a:gd name="connsiteX4" fmla="*/ 969677 w 1800257"/>
              <a:gd name="connsiteY4" fmla="*/ 0 h 1692875"/>
              <a:gd name="connsiteX5" fmla="*/ 1335437 w 1800257"/>
              <a:gd name="connsiteY5" fmla="*/ 266700 h 1692875"/>
              <a:gd name="connsiteX6" fmla="*/ 1335437 w 1800257"/>
              <a:gd name="connsiteY6" fmla="*/ 76200 h 1692875"/>
              <a:gd name="connsiteX7" fmla="*/ 1609757 w 1800257"/>
              <a:gd name="connsiteY7" fmla="*/ 76200 h 1692875"/>
              <a:gd name="connsiteX8" fmla="*/ 1609757 w 1800257"/>
              <a:gd name="connsiteY8" fmla="*/ 449580 h 1692875"/>
              <a:gd name="connsiteX9" fmla="*/ 1800257 w 1800257"/>
              <a:gd name="connsiteY9" fmla="*/ 586740 h 1692875"/>
              <a:gd name="connsiteX10" fmla="*/ 1800257 w 1800257"/>
              <a:gd name="connsiteY10" fmla="*/ 883920 h 1692875"/>
              <a:gd name="connsiteX11" fmla="*/ 1708817 w 1800257"/>
              <a:gd name="connsiteY11" fmla="*/ 883920 h 1692875"/>
              <a:gd name="connsiteX12" fmla="*/ 1708817 w 1800257"/>
              <a:gd name="connsiteY12" fmla="*/ 1692875 h 1692875"/>
              <a:gd name="connsiteX0" fmla="*/ 222917 w 1800257"/>
              <a:gd name="connsiteY0" fmla="*/ 1691640 h 1692875"/>
              <a:gd name="connsiteX1" fmla="*/ 226791 w 1800257"/>
              <a:gd name="connsiteY1" fmla="*/ 619453 h 1692875"/>
              <a:gd name="connsiteX2" fmla="*/ 0 w 1800257"/>
              <a:gd name="connsiteY2" fmla="*/ 611792 h 1692875"/>
              <a:gd name="connsiteX3" fmla="*/ 278969 w 1800257"/>
              <a:gd name="connsiteY3" fmla="*/ 12003 h 1692875"/>
              <a:gd name="connsiteX4" fmla="*/ 969677 w 1800257"/>
              <a:gd name="connsiteY4" fmla="*/ 0 h 1692875"/>
              <a:gd name="connsiteX5" fmla="*/ 1335437 w 1800257"/>
              <a:gd name="connsiteY5" fmla="*/ 266700 h 1692875"/>
              <a:gd name="connsiteX6" fmla="*/ 1335437 w 1800257"/>
              <a:gd name="connsiteY6" fmla="*/ 76200 h 1692875"/>
              <a:gd name="connsiteX7" fmla="*/ 1609757 w 1800257"/>
              <a:gd name="connsiteY7" fmla="*/ 76200 h 1692875"/>
              <a:gd name="connsiteX8" fmla="*/ 1609757 w 1800257"/>
              <a:gd name="connsiteY8" fmla="*/ 449580 h 1692875"/>
              <a:gd name="connsiteX9" fmla="*/ 1800257 w 1800257"/>
              <a:gd name="connsiteY9" fmla="*/ 586740 h 1692875"/>
              <a:gd name="connsiteX10" fmla="*/ 1800257 w 1800257"/>
              <a:gd name="connsiteY10" fmla="*/ 883920 h 1692875"/>
              <a:gd name="connsiteX11" fmla="*/ 1708817 w 1800257"/>
              <a:gd name="connsiteY11" fmla="*/ 883920 h 1692875"/>
              <a:gd name="connsiteX12" fmla="*/ 1708817 w 1800257"/>
              <a:gd name="connsiteY12" fmla="*/ 1692875 h 1692875"/>
              <a:gd name="connsiteX0" fmla="*/ 222917 w 1800257"/>
              <a:gd name="connsiteY0" fmla="*/ 1708435 h 1709670"/>
              <a:gd name="connsiteX1" fmla="*/ 226791 w 1800257"/>
              <a:gd name="connsiteY1" fmla="*/ 636248 h 1709670"/>
              <a:gd name="connsiteX2" fmla="*/ 0 w 1800257"/>
              <a:gd name="connsiteY2" fmla="*/ 628587 h 1709670"/>
              <a:gd name="connsiteX3" fmla="*/ 278969 w 1800257"/>
              <a:gd name="connsiteY3" fmla="*/ 28798 h 1709670"/>
              <a:gd name="connsiteX4" fmla="*/ 969677 w 1800257"/>
              <a:gd name="connsiteY4" fmla="*/ 16795 h 1709670"/>
              <a:gd name="connsiteX5" fmla="*/ 1618280 w 1800257"/>
              <a:gd name="connsiteY5" fmla="*/ 0 h 1709670"/>
              <a:gd name="connsiteX6" fmla="*/ 1335437 w 1800257"/>
              <a:gd name="connsiteY6" fmla="*/ 92995 h 1709670"/>
              <a:gd name="connsiteX7" fmla="*/ 1609757 w 1800257"/>
              <a:gd name="connsiteY7" fmla="*/ 92995 h 1709670"/>
              <a:gd name="connsiteX8" fmla="*/ 1609757 w 1800257"/>
              <a:gd name="connsiteY8" fmla="*/ 466375 h 1709670"/>
              <a:gd name="connsiteX9" fmla="*/ 1800257 w 1800257"/>
              <a:gd name="connsiteY9" fmla="*/ 603535 h 1709670"/>
              <a:gd name="connsiteX10" fmla="*/ 1800257 w 1800257"/>
              <a:gd name="connsiteY10" fmla="*/ 900715 h 1709670"/>
              <a:gd name="connsiteX11" fmla="*/ 1708817 w 1800257"/>
              <a:gd name="connsiteY11" fmla="*/ 900715 h 1709670"/>
              <a:gd name="connsiteX12" fmla="*/ 1708817 w 1800257"/>
              <a:gd name="connsiteY12" fmla="*/ 1709670 h 1709670"/>
              <a:gd name="connsiteX0" fmla="*/ 222917 w 1800257"/>
              <a:gd name="connsiteY0" fmla="*/ 1864456 h 1865691"/>
              <a:gd name="connsiteX1" fmla="*/ 226791 w 1800257"/>
              <a:gd name="connsiteY1" fmla="*/ 792269 h 1865691"/>
              <a:gd name="connsiteX2" fmla="*/ 0 w 1800257"/>
              <a:gd name="connsiteY2" fmla="*/ 784608 h 1865691"/>
              <a:gd name="connsiteX3" fmla="*/ 278969 w 1800257"/>
              <a:gd name="connsiteY3" fmla="*/ 184819 h 1865691"/>
              <a:gd name="connsiteX4" fmla="*/ 969677 w 1800257"/>
              <a:gd name="connsiteY4" fmla="*/ 172816 h 1865691"/>
              <a:gd name="connsiteX5" fmla="*/ 1618280 w 1800257"/>
              <a:gd name="connsiteY5" fmla="*/ 156021 h 1865691"/>
              <a:gd name="connsiteX6" fmla="*/ 1618280 w 1800257"/>
              <a:gd name="connsiteY6" fmla="*/ 0 h 1865691"/>
              <a:gd name="connsiteX7" fmla="*/ 1609757 w 1800257"/>
              <a:gd name="connsiteY7" fmla="*/ 249016 h 1865691"/>
              <a:gd name="connsiteX8" fmla="*/ 1609757 w 1800257"/>
              <a:gd name="connsiteY8" fmla="*/ 622396 h 1865691"/>
              <a:gd name="connsiteX9" fmla="*/ 1800257 w 1800257"/>
              <a:gd name="connsiteY9" fmla="*/ 759556 h 1865691"/>
              <a:gd name="connsiteX10" fmla="*/ 1800257 w 1800257"/>
              <a:gd name="connsiteY10" fmla="*/ 1056736 h 1865691"/>
              <a:gd name="connsiteX11" fmla="*/ 1708817 w 1800257"/>
              <a:gd name="connsiteY11" fmla="*/ 1056736 h 1865691"/>
              <a:gd name="connsiteX12" fmla="*/ 1708817 w 1800257"/>
              <a:gd name="connsiteY12" fmla="*/ 1865691 h 1865691"/>
              <a:gd name="connsiteX0" fmla="*/ 222917 w 1935220"/>
              <a:gd name="connsiteY0" fmla="*/ 1864457 h 1865692"/>
              <a:gd name="connsiteX1" fmla="*/ 226791 w 1935220"/>
              <a:gd name="connsiteY1" fmla="*/ 792270 h 1865692"/>
              <a:gd name="connsiteX2" fmla="*/ 0 w 1935220"/>
              <a:gd name="connsiteY2" fmla="*/ 784609 h 1865692"/>
              <a:gd name="connsiteX3" fmla="*/ 278969 w 1935220"/>
              <a:gd name="connsiteY3" fmla="*/ 184820 h 1865692"/>
              <a:gd name="connsiteX4" fmla="*/ 969677 w 1935220"/>
              <a:gd name="connsiteY4" fmla="*/ 172817 h 1865692"/>
              <a:gd name="connsiteX5" fmla="*/ 1618280 w 1935220"/>
              <a:gd name="connsiteY5" fmla="*/ 156022 h 1865692"/>
              <a:gd name="connsiteX6" fmla="*/ 1618280 w 1935220"/>
              <a:gd name="connsiteY6" fmla="*/ 1 h 1865692"/>
              <a:gd name="connsiteX7" fmla="*/ 1935220 w 1935220"/>
              <a:gd name="connsiteY7" fmla="*/ 0 h 1865692"/>
              <a:gd name="connsiteX8" fmla="*/ 1609757 w 1935220"/>
              <a:gd name="connsiteY8" fmla="*/ 622397 h 1865692"/>
              <a:gd name="connsiteX9" fmla="*/ 1800257 w 1935220"/>
              <a:gd name="connsiteY9" fmla="*/ 759557 h 1865692"/>
              <a:gd name="connsiteX10" fmla="*/ 1800257 w 1935220"/>
              <a:gd name="connsiteY10" fmla="*/ 1056737 h 1865692"/>
              <a:gd name="connsiteX11" fmla="*/ 1708817 w 1935220"/>
              <a:gd name="connsiteY11" fmla="*/ 1056737 h 1865692"/>
              <a:gd name="connsiteX12" fmla="*/ 1708817 w 1935220"/>
              <a:gd name="connsiteY12" fmla="*/ 1865692 h 1865692"/>
              <a:gd name="connsiteX0" fmla="*/ 222917 w 1935220"/>
              <a:gd name="connsiteY0" fmla="*/ 1864457 h 1865692"/>
              <a:gd name="connsiteX1" fmla="*/ 226791 w 1935220"/>
              <a:gd name="connsiteY1" fmla="*/ 792270 h 1865692"/>
              <a:gd name="connsiteX2" fmla="*/ 0 w 1935220"/>
              <a:gd name="connsiteY2" fmla="*/ 784609 h 1865692"/>
              <a:gd name="connsiteX3" fmla="*/ 278969 w 1935220"/>
              <a:gd name="connsiteY3" fmla="*/ 184820 h 1865692"/>
              <a:gd name="connsiteX4" fmla="*/ 969677 w 1935220"/>
              <a:gd name="connsiteY4" fmla="*/ 172817 h 1865692"/>
              <a:gd name="connsiteX5" fmla="*/ 1618280 w 1935220"/>
              <a:gd name="connsiteY5" fmla="*/ 156022 h 1865692"/>
              <a:gd name="connsiteX6" fmla="*/ 1618280 w 1935220"/>
              <a:gd name="connsiteY6" fmla="*/ 1 h 1865692"/>
              <a:gd name="connsiteX7" fmla="*/ 1935220 w 1935220"/>
              <a:gd name="connsiteY7" fmla="*/ 0 h 1865692"/>
              <a:gd name="connsiteX8" fmla="*/ 1931346 w 1935220"/>
              <a:gd name="connsiteY8" fmla="*/ 181830 h 1865692"/>
              <a:gd name="connsiteX9" fmla="*/ 1800257 w 1935220"/>
              <a:gd name="connsiteY9" fmla="*/ 759557 h 1865692"/>
              <a:gd name="connsiteX10" fmla="*/ 1800257 w 1935220"/>
              <a:gd name="connsiteY10" fmla="*/ 1056737 h 1865692"/>
              <a:gd name="connsiteX11" fmla="*/ 1708817 w 1935220"/>
              <a:gd name="connsiteY11" fmla="*/ 1056737 h 1865692"/>
              <a:gd name="connsiteX12" fmla="*/ 1708817 w 1935220"/>
              <a:gd name="connsiteY12" fmla="*/ 1865692 h 1865692"/>
              <a:gd name="connsiteX0" fmla="*/ 222917 w 2300077"/>
              <a:gd name="connsiteY0" fmla="*/ 1864457 h 1865692"/>
              <a:gd name="connsiteX1" fmla="*/ 226791 w 2300077"/>
              <a:gd name="connsiteY1" fmla="*/ 792270 h 1865692"/>
              <a:gd name="connsiteX2" fmla="*/ 0 w 2300077"/>
              <a:gd name="connsiteY2" fmla="*/ 784609 h 1865692"/>
              <a:gd name="connsiteX3" fmla="*/ 278969 w 2300077"/>
              <a:gd name="connsiteY3" fmla="*/ 184820 h 1865692"/>
              <a:gd name="connsiteX4" fmla="*/ 969677 w 2300077"/>
              <a:gd name="connsiteY4" fmla="*/ 172817 h 1865692"/>
              <a:gd name="connsiteX5" fmla="*/ 1618280 w 2300077"/>
              <a:gd name="connsiteY5" fmla="*/ 156022 h 1865692"/>
              <a:gd name="connsiteX6" fmla="*/ 1618280 w 2300077"/>
              <a:gd name="connsiteY6" fmla="*/ 1 h 1865692"/>
              <a:gd name="connsiteX7" fmla="*/ 1935220 w 2300077"/>
              <a:gd name="connsiteY7" fmla="*/ 0 h 1865692"/>
              <a:gd name="connsiteX8" fmla="*/ 1931346 w 2300077"/>
              <a:gd name="connsiteY8" fmla="*/ 181830 h 1865692"/>
              <a:gd name="connsiteX9" fmla="*/ 2300077 w 2300077"/>
              <a:gd name="connsiteY9" fmla="*/ 564176 h 1865692"/>
              <a:gd name="connsiteX10" fmla="*/ 1800257 w 2300077"/>
              <a:gd name="connsiteY10" fmla="*/ 1056737 h 1865692"/>
              <a:gd name="connsiteX11" fmla="*/ 1708817 w 2300077"/>
              <a:gd name="connsiteY11" fmla="*/ 1056737 h 1865692"/>
              <a:gd name="connsiteX12" fmla="*/ 1708817 w 2300077"/>
              <a:gd name="connsiteY12"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618280 w 2160593"/>
              <a:gd name="connsiteY5" fmla="*/ 156022 h 1865692"/>
              <a:gd name="connsiteX6" fmla="*/ 1618280 w 2160593"/>
              <a:gd name="connsiteY6" fmla="*/ 1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800257 w 2160593"/>
              <a:gd name="connsiteY10" fmla="*/ 1056737 h 1865692"/>
              <a:gd name="connsiteX11" fmla="*/ 1708817 w 2160593"/>
              <a:gd name="connsiteY11" fmla="*/ 1056737 h 1865692"/>
              <a:gd name="connsiteX12" fmla="*/ 1708817 w 2160593"/>
              <a:gd name="connsiteY12"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618280 w 2160593"/>
              <a:gd name="connsiteY5" fmla="*/ 156022 h 1865692"/>
              <a:gd name="connsiteX6" fmla="*/ 1618280 w 2160593"/>
              <a:gd name="connsiteY6" fmla="*/ 1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708817 w 2160593"/>
              <a:gd name="connsiteY10" fmla="*/ 1056737 h 1865692"/>
              <a:gd name="connsiteX11" fmla="*/ 1708817 w 2160593"/>
              <a:gd name="connsiteY11"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618280 w 2160593"/>
              <a:gd name="connsiteY5" fmla="*/ 156022 h 1865692"/>
              <a:gd name="connsiteX6" fmla="*/ 1618280 w 2160593"/>
              <a:gd name="connsiteY6" fmla="*/ 1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704943 w 2160593"/>
              <a:gd name="connsiteY10" fmla="*/ 761749 h 1865692"/>
              <a:gd name="connsiteX11" fmla="*/ 1708817 w 2160593"/>
              <a:gd name="connsiteY11"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595032 w 2160593"/>
              <a:gd name="connsiteY5" fmla="*/ 182839 h 1865692"/>
              <a:gd name="connsiteX6" fmla="*/ 1618280 w 2160593"/>
              <a:gd name="connsiteY6" fmla="*/ 1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704943 w 2160593"/>
              <a:gd name="connsiteY10" fmla="*/ 761749 h 1865692"/>
              <a:gd name="connsiteX11" fmla="*/ 1708817 w 2160593"/>
              <a:gd name="connsiteY11"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331562 w 2160593"/>
              <a:gd name="connsiteY5" fmla="*/ 179008 h 1865692"/>
              <a:gd name="connsiteX6" fmla="*/ 1618280 w 2160593"/>
              <a:gd name="connsiteY6" fmla="*/ 1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704943 w 2160593"/>
              <a:gd name="connsiteY10" fmla="*/ 761749 h 1865692"/>
              <a:gd name="connsiteX11" fmla="*/ 1708817 w 2160593"/>
              <a:gd name="connsiteY11" fmla="*/ 1865692 h 1865692"/>
              <a:gd name="connsiteX0" fmla="*/ 222917 w 2160593"/>
              <a:gd name="connsiteY0" fmla="*/ 1864457 h 1865692"/>
              <a:gd name="connsiteX1" fmla="*/ 226791 w 2160593"/>
              <a:gd name="connsiteY1" fmla="*/ 792270 h 1865692"/>
              <a:gd name="connsiteX2" fmla="*/ 0 w 2160593"/>
              <a:gd name="connsiteY2" fmla="*/ 784609 h 1865692"/>
              <a:gd name="connsiteX3" fmla="*/ 278969 w 2160593"/>
              <a:gd name="connsiteY3" fmla="*/ 184820 h 1865692"/>
              <a:gd name="connsiteX4" fmla="*/ 969677 w 2160593"/>
              <a:gd name="connsiteY4" fmla="*/ 172817 h 1865692"/>
              <a:gd name="connsiteX5" fmla="*/ 1331562 w 2160593"/>
              <a:gd name="connsiteY5" fmla="*/ 179008 h 1865692"/>
              <a:gd name="connsiteX6" fmla="*/ 1331562 w 2160593"/>
              <a:gd name="connsiteY6" fmla="*/ 7663 h 1865692"/>
              <a:gd name="connsiteX7" fmla="*/ 1935220 w 2160593"/>
              <a:gd name="connsiteY7" fmla="*/ 0 h 1865692"/>
              <a:gd name="connsiteX8" fmla="*/ 1931346 w 2160593"/>
              <a:gd name="connsiteY8" fmla="*/ 181830 h 1865692"/>
              <a:gd name="connsiteX9" fmla="*/ 2160593 w 2160593"/>
              <a:gd name="connsiteY9" fmla="*/ 740403 h 1865692"/>
              <a:gd name="connsiteX10" fmla="*/ 1704943 w 2160593"/>
              <a:gd name="connsiteY10" fmla="*/ 761749 h 1865692"/>
              <a:gd name="connsiteX11" fmla="*/ 1708817 w 2160593"/>
              <a:gd name="connsiteY11" fmla="*/ 1865692 h 1865692"/>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331562 w 2160593"/>
              <a:gd name="connsiteY5" fmla="*/ 175177 h 1861861"/>
              <a:gd name="connsiteX6" fmla="*/ 1331562 w 2160593"/>
              <a:gd name="connsiteY6" fmla="*/ 3832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331562 w 2160593"/>
              <a:gd name="connsiteY5" fmla="*/ 175177 h 1861861"/>
              <a:gd name="connsiteX6" fmla="*/ 1304439 w 2160593"/>
              <a:gd name="connsiteY6" fmla="*/ 3832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308314 w 2160593"/>
              <a:gd name="connsiteY5" fmla="*/ 175177 h 1861861"/>
              <a:gd name="connsiteX6" fmla="*/ 1304439 w 2160593"/>
              <a:gd name="connsiteY6" fmla="*/ 3832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292816 w 2160593"/>
              <a:gd name="connsiteY5" fmla="*/ 179008 h 1861861"/>
              <a:gd name="connsiteX6" fmla="*/ 1304439 w 2160593"/>
              <a:gd name="connsiteY6" fmla="*/ 3832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296691 w 2160593"/>
              <a:gd name="connsiteY5" fmla="*/ 175178 h 1861861"/>
              <a:gd name="connsiteX6" fmla="*/ 1304439 w 2160593"/>
              <a:gd name="connsiteY6" fmla="*/ 3832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296691 w 2160593"/>
              <a:gd name="connsiteY5" fmla="*/ 175178 h 1861861"/>
              <a:gd name="connsiteX6" fmla="*/ 1285066 w 2160593"/>
              <a:gd name="connsiteY6" fmla="*/ 7664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60626 h 1861861"/>
              <a:gd name="connsiteX1" fmla="*/ 226791 w 2160593"/>
              <a:gd name="connsiteY1" fmla="*/ 788439 h 1861861"/>
              <a:gd name="connsiteX2" fmla="*/ 0 w 2160593"/>
              <a:gd name="connsiteY2" fmla="*/ 780778 h 1861861"/>
              <a:gd name="connsiteX3" fmla="*/ 278969 w 2160593"/>
              <a:gd name="connsiteY3" fmla="*/ 180989 h 1861861"/>
              <a:gd name="connsiteX4" fmla="*/ 969677 w 2160593"/>
              <a:gd name="connsiteY4" fmla="*/ 168986 h 1861861"/>
              <a:gd name="connsiteX5" fmla="*/ 1296691 w 2160593"/>
              <a:gd name="connsiteY5" fmla="*/ 175178 h 1861861"/>
              <a:gd name="connsiteX6" fmla="*/ 1292815 w 2160593"/>
              <a:gd name="connsiteY6" fmla="*/ 7664 h 1861861"/>
              <a:gd name="connsiteX7" fmla="*/ 1617506 w 2160593"/>
              <a:gd name="connsiteY7" fmla="*/ 0 h 1861861"/>
              <a:gd name="connsiteX8" fmla="*/ 1931346 w 2160593"/>
              <a:gd name="connsiteY8" fmla="*/ 177999 h 1861861"/>
              <a:gd name="connsiteX9" fmla="*/ 2160593 w 2160593"/>
              <a:gd name="connsiteY9" fmla="*/ 736572 h 1861861"/>
              <a:gd name="connsiteX10" fmla="*/ 1704943 w 2160593"/>
              <a:gd name="connsiteY10" fmla="*/ 757918 h 1861861"/>
              <a:gd name="connsiteX11" fmla="*/ 1708817 w 2160593"/>
              <a:gd name="connsiteY11" fmla="*/ 1861861 h 1861861"/>
              <a:gd name="connsiteX0" fmla="*/ 222917 w 2160593"/>
              <a:gd name="connsiteY0" fmla="*/ 1856795 h 1858030"/>
              <a:gd name="connsiteX1" fmla="*/ 226791 w 2160593"/>
              <a:gd name="connsiteY1" fmla="*/ 784608 h 1858030"/>
              <a:gd name="connsiteX2" fmla="*/ 0 w 2160593"/>
              <a:gd name="connsiteY2" fmla="*/ 776947 h 1858030"/>
              <a:gd name="connsiteX3" fmla="*/ 278969 w 2160593"/>
              <a:gd name="connsiteY3" fmla="*/ 177158 h 1858030"/>
              <a:gd name="connsiteX4" fmla="*/ 969677 w 2160593"/>
              <a:gd name="connsiteY4" fmla="*/ 165155 h 1858030"/>
              <a:gd name="connsiteX5" fmla="*/ 1296691 w 2160593"/>
              <a:gd name="connsiteY5" fmla="*/ 171347 h 1858030"/>
              <a:gd name="connsiteX6" fmla="*/ 1292815 w 2160593"/>
              <a:gd name="connsiteY6" fmla="*/ 3833 h 1858030"/>
              <a:gd name="connsiteX7" fmla="*/ 1590384 w 2160593"/>
              <a:gd name="connsiteY7" fmla="*/ 0 h 1858030"/>
              <a:gd name="connsiteX8" fmla="*/ 1931346 w 2160593"/>
              <a:gd name="connsiteY8" fmla="*/ 174168 h 1858030"/>
              <a:gd name="connsiteX9" fmla="*/ 2160593 w 2160593"/>
              <a:gd name="connsiteY9" fmla="*/ 732741 h 1858030"/>
              <a:gd name="connsiteX10" fmla="*/ 1704943 w 2160593"/>
              <a:gd name="connsiteY10" fmla="*/ 754087 h 1858030"/>
              <a:gd name="connsiteX11" fmla="*/ 1708817 w 2160593"/>
              <a:gd name="connsiteY11" fmla="*/ 1858030 h 1858030"/>
              <a:gd name="connsiteX0" fmla="*/ 222917 w 2160593"/>
              <a:gd name="connsiteY0" fmla="*/ 1856795 h 1858030"/>
              <a:gd name="connsiteX1" fmla="*/ 226791 w 2160593"/>
              <a:gd name="connsiteY1" fmla="*/ 784608 h 1858030"/>
              <a:gd name="connsiteX2" fmla="*/ 0 w 2160593"/>
              <a:gd name="connsiteY2" fmla="*/ 776947 h 1858030"/>
              <a:gd name="connsiteX3" fmla="*/ 278969 w 2160593"/>
              <a:gd name="connsiteY3" fmla="*/ 177158 h 1858030"/>
              <a:gd name="connsiteX4" fmla="*/ 969677 w 2160593"/>
              <a:gd name="connsiteY4" fmla="*/ 165155 h 1858030"/>
              <a:gd name="connsiteX5" fmla="*/ 1296691 w 2160593"/>
              <a:gd name="connsiteY5" fmla="*/ 171347 h 1858030"/>
              <a:gd name="connsiteX6" fmla="*/ 1292815 w 2160593"/>
              <a:gd name="connsiteY6" fmla="*/ 3833 h 1858030"/>
              <a:gd name="connsiteX7" fmla="*/ 1590384 w 2160593"/>
              <a:gd name="connsiteY7" fmla="*/ 0 h 1858030"/>
              <a:gd name="connsiteX8" fmla="*/ 1594259 w 2160593"/>
              <a:gd name="connsiteY8" fmla="*/ 158844 h 1858030"/>
              <a:gd name="connsiteX9" fmla="*/ 2160593 w 2160593"/>
              <a:gd name="connsiteY9" fmla="*/ 732741 h 1858030"/>
              <a:gd name="connsiteX10" fmla="*/ 1704943 w 2160593"/>
              <a:gd name="connsiteY10" fmla="*/ 754087 h 1858030"/>
              <a:gd name="connsiteX11" fmla="*/ 1708817 w 2160593"/>
              <a:gd name="connsiteY11" fmla="*/ 1858030 h 1858030"/>
              <a:gd name="connsiteX0" fmla="*/ 222917 w 2160593"/>
              <a:gd name="connsiteY0" fmla="*/ 1856795 h 1858030"/>
              <a:gd name="connsiteX1" fmla="*/ 226791 w 2160593"/>
              <a:gd name="connsiteY1" fmla="*/ 784608 h 1858030"/>
              <a:gd name="connsiteX2" fmla="*/ 0 w 2160593"/>
              <a:gd name="connsiteY2" fmla="*/ 776947 h 1858030"/>
              <a:gd name="connsiteX3" fmla="*/ 278969 w 2160593"/>
              <a:gd name="connsiteY3" fmla="*/ 177158 h 1858030"/>
              <a:gd name="connsiteX4" fmla="*/ 969677 w 2160593"/>
              <a:gd name="connsiteY4" fmla="*/ 165155 h 1858030"/>
              <a:gd name="connsiteX5" fmla="*/ 1296691 w 2160593"/>
              <a:gd name="connsiteY5" fmla="*/ 171347 h 1858030"/>
              <a:gd name="connsiteX6" fmla="*/ 1292815 w 2160593"/>
              <a:gd name="connsiteY6" fmla="*/ 3833 h 1858030"/>
              <a:gd name="connsiteX7" fmla="*/ 1590384 w 2160593"/>
              <a:gd name="connsiteY7" fmla="*/ 0 h 1858030"/>
              <a:gd name="connsiteX8" fmla="*/ 1594259 w 2160593"/>
              <a:gd name="connsiteY8" fmla="*/ 158844 h 1858030"/>
              <a:gd name="connsiteX9" fmla="*/ 1674675 w 2160593"/>
              <a:gd name="connsiteY9" fmla="*/ 235453 h 1858030"/>
              <a:gd name="connsiteX10" fmla="*/ 2160593 w 2160593"/>
              <a:gd name="connsiteY10" fmla="*/ 732741 h 1858030"/>
              <a:gd name="connsiteX11" fmla="*/ 1704943 w 2160593"/>
              <a:gd name="connsiteY11" fmla="*/ 754087 h 1858030"/>
              <a:gd name="connsiteX12" fmla="*/ 1708817 w 2160593"/>
              <a:gd name="connsiteY12" fmla="*/ 1858030 h 1858030"/>
              <a:gd name="connsiteX0" fmla="*/ 222917 w 2160593"/>
              <a:gd name="connsiteY0" fmla="*/ 1856795 h 1858030"/>
              <a:gd name="connsiteX1" fmla="*/ 226791 w 2160593"/>
              <a:gd name="connsiteY1" fmla="*/ 784608 h 1858030"/>
              <a:gd name="connsiteX2" fmla="*/ 0 w 2160593"/>
              <a:gd name="connsiteY2" fmla="*/ 776947 h 1858030"/>
              <a:gd name="connsiteX3" fmla="*/ 278969 w 2160593"/>
              <a:gd name="connsiteY3" fmla="*/ 177158 h 1858030"/>
              <a:gd name="connsiteX4" fmla="*/ 969677 w 2160593"/>
              <a:gd name="connsiteY4" fmla="*/ 165155 h 1858030"/>
              <a:gd name="connsiteX5" fmla="*/ 1296691 w 2160593"/>
              <a:gd name="connsiteY5" fmla="*/ 171347 h 1858030"/>
              <a:gd name="connsiteX6" fmla="*/ 1292815 w 2160593"/>
              <a:gd name="connsiteY6" fmla="*/ 3833 h 1858030"/>
              <a:gd name="connsiteX7" fmla="*/ 1590384 w 2160593"/>
              <a:gd name="connsiteY7" fmla="*/ 0 h 1858030"/>
              <a:gd name="connsiteX8" fmla="*/ 1594259 w 2160593"/>
              <a:gd name="connsiteY8" fmla="*/ 158844 h 1858030"/>
              <a:gd name="connsiteX9" fmla="*/ 1663051 w 2160593"/>
              <a:gd name="connsiteY9" fmla="*/ 177988 h 1858030"/>
              <a:gd name="connsiteX10" fmla="*/ 2160593 w 2160593"/>
              <a:gd name="connsiteY10" fmla="*/ 732741 h 1858030"/>
              <a:gd name="connsiteX11" fmla="*/ 1704943 w 2160593"/>
              <a:gd name="connsiteY11" fmla="*/ 754087 h 1858030"/>
              <a:gd name="connsiteX12" fmla="*/ 1708817 w 2160593"/>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71347 h 1858030"/>
              <a:gd name="connsiteX6" fmla="*/ 1292815 w 1955241"/>
              <a:gd name="connsiteY6" fmla="*/ 3833 h 1858030"/>
              <a:gd name="connsiteX7" fmla="*/ 1590384 w 1955241"/>
              <a:gd name="connsiteY7" fmla="*/ 0 h 1858030"/>
              <a:gd name="connsiteX8" fmla="*/ 1594259 w 1955241"/>
              <a:gd name="connsiteY8" fmla="*/ 158844 h 1858030"/>
              <a:gd name="connsiteX9" fmla="*/ 1663051 w 1955241"/>
              <a:gd name="connsiteY9" fmla="*/ 177988 h 1858030"/>
              <a:gd name="connsiteX10" fmla="*/ 1955241 w 1955241"/>
              <a:gd name="connsiteY10" fmla="*/ 774882 h 1858030"/>
              <a:gd name="connsiteX11" fmla="*/ 1704943 w 1955241"/>
              <a:gd name="connsiteY11" fmla="*/ 754087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71347 h 1858030"/>
              <a:gd name="connsiteX6" fmla="*/ 1292815 w 1955241"/>
              <a:gd name="connsiteY6" fmla="*/ 3833 h 1858030"/>
              <a:gd name="connsiteX7" fmla="*/ 1590384 w 1955241"/>
              <a:gd name="connsiteY7" fmla="*/ 0 h 1858030"/>
              <a:gd name="connsiteX8" fmla="*/ 1594259 w 1955241"/>
              <a:gd name="connsiteY8" fmla="*/ 158844 h 1858030"/>
              <a:gd name="connsiteX9" fmla="*/ 1663051 w 1955241"/>
              <a:gd name="connsiteY9" fmla="*/ 177988 h 1858030"/>
              <a:gd name="connsiteX10" fmla="*/ 1955241 w 1955241"/>
              <a:gd name="connsiteY10" fmla="*/ 774882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71347 h 1858030"/>
              <a:gd name="connsiteX6" fmla="*/ 1292815 w 1955241"/>
              <a:gd name="connsiteY6" fmla="*/ 3833 h 1858030"/>
              <a:gd name="connsiteX7" fmla="*/ 1590384 w 1955241"/>
              <a:gd name="connsiteY7" fmla="*/ 0 h 1858030"/>
              <a:gd name="connsiteX8" fmla="*/ 1594259 w 1955241"/>
              <a:gd name="connsiteY8" fmla="*/ 158844 h 1858030"/>
              <a:gd name="connsiteX9" fmla="*/ 1663051 w 1955241"/>
              <a:gd name="connsiteY9" fmla="*/ 177988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71347 h 1858030"/>
              <a:gd name="connsiteX6" fmla="*/ 1292815 w 1955241"/>
              <a:gd name="connsiteY6" fmla="*/ 3833 h 1858030"/>
              <a:gd name="connsiteX7" fmla="*/ 1590384 w 1955241"/>
              <a:gd name="connsiteY7" fmla="*/ 0 h 1858030"/>
              <a:gd name="connsiteX8" fmla="*/ 1594259 w 1955241"/>
              <a:gd name="connsiteY8" fmla="*/ 158844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71347 h 1858030"/>
              <a:gd name="connsiteX6" fmla="*/ 1292815 w 1955241"/>
              <a:gd name="connsiteY6" fmla="*/ 3833 h 1858030"/>
              <a:gd name="connsiteX7" fmla="*/ 1590384 w 1955241"/>
              <a:gd name="connsiteY7" fmla="*/ 0 h 1858030"/>
              <a:gd name="connsiteX8" fmla="*/ 1594259 w 1955241"/>
              <a:gd name="connsiteY8" fmla="*/ 166506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1 w 1955241"/>
              <a:gd name="connsiteY5" fmla="*/ 167517 h 1858030"/>
              <a:gd name="connsiteX6" fmla="*/ 1292815 w 1955241"/>
              <a:gd name="connsiteY6" fmla="*/ 3833 h 1858030"/>
              <a:gd name="connsiteX7" fmla="*/ 1590384 w 1955241"/>
              <a:gd name="connsiteY7" fmla="*/ 0 h 1858030"/>
              <a:gd name="connsiteX8" fmla="*/ 1594259 w 1955241"/>
              <a:gd name="connsiteY8" fmla="*/ 166506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300565 w 1955241"/>
              <a:gd name="connsiteY5" fmla="*/ 159855 h 1858030"/>
              <a:gd name="connsiteX6" fmla="*/ 1292815 w 1955241"/>
              <a:gd name="connsiteY6" fmla="*/ 3833 h 1858030"/>
              <a:gd name="connsiteX7" fmla="*/ 1590384 w 1955241"/>
              <a:gd name="connsiteY7" fmla="*/ 0 h 1858030"/>
              <a:gd name="connsiteX8" fmla="*/ 1594259 w 1955241"/>
              <a:gd name="connsiteY8" fmla="*/ 166506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0 w 1955241"/>
              <a:gd name="connsiteY5" fmla="*/ 163686 h 1858030"/>
              <a:gd name="connsiteX6" fmla="*/ 1292815 w 1955241"/>
              <a:gd name="connsiteY6" fmla="*/ 3833 h 1858030"/>
              <a:gd name="connsiteX7" fmla="*/ 1590384 w 1955241"/>
              <a:gd name="connsiteY7" fmla="*/ 0 h 1858030"/>
              <a:gd name="connsiteX8" fmla="*/ 1594259 w 1955241"/>
              <a:gd name="connsiteY8" fmla="*/ 166506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6795 h 1858030"/>
              <a:gd name="connsiteX1" fmla="*/ 226791 w 1955241"/>
              <a:gd name="connsiteY1" fmla="*/ 784608 h 1858030"/>
              <a:gd name="connsiteX2" fmla="*/ 0 w 1955241"/>
              <a:gd name="connsiteY2" fmla="*/ 776947 h 1858030"/>
              <a:gd name="connsiteX3" fmla="*/ 278969 w 1955241"/>
              <a:gd name="connsiteY3" fmla="*/ 177158 h 1858030"/>
              <a:gd name="connsiteX4" fmla="*/ 969677 w 1955241"/>
              <a:gd name="connsiteY4" fmla="*/ 165155 h 1858030"/>
              <a:gd name="connsiteX5" fmla="*/ 1296690 w 1955241"/>
              <a:gd name="connsiteY5" fmla="*/ 163686 h 1858030"/>
              <a:gd name="connsiteX6" fmla="*/ 1296689 w 1955241"/>
              <a:gd name="connsiteY6" fmla="*/ 3833 h 1858030"/>
              <a:gd name="connsiteX7" fmla="*/ 1590384 w 1955241"/>
              <a:gd name="connsiteY7" fmla="*/ 0 h 1858030"/>
              <a:gd name="connsiteX8" fmla="*/ 1594259 w 1955241"/>
              <a:gd name="connsiteY8" fmla="*/ 166506 h 1858030"/>
              <a:gd name="connsiteX9" fmla="*/ 1655302 w 1955241"/>
              <a:gd name="connsiteY9" fmla="*/ 166496 h 1858030"/>
              <a:gd name="connsiteX10" fmla="*/ 1955241 w 1955241"/>
              <a:gd name="connsiteY10" fmla="*/ 790206 h 1858030"/>
              <a:gd name="connsiteX11" fmla="*/ 1704943 w 1955241"/>
              <a:gd name="connsiteY11" fmla="*/ 788566 h 1858030"/>
              <a:gd name="connsiteX12" fmla="*/ 1708817 w 1955241"/>
              <a:gd name="connsiteY12" fmla="*/ 1858030 h 1858030"/>
              <a:gd name="connsiteX0" fmla="*/ 222917 w 1955241"/>
              <a:gd name="connsiteY0" fmla="*/ 1852962 h 1854197"/>
              <a:gd name="connsiteX1" fmla="*/ 226791 w 1955241"/>
              <a:gd name="connsiteY1" fmla="*/ 780775 h 1854197"/>
              <a:gd name="connsiteX2" fmla="*/ 0 w 1955241"/>
              <a:gd name="connsiteY2" fmla="*/ 773114 h 1854197"/>
              <a:gd name="connsiteX3" fmla="*/ 278969 w 1955241"/>
              <a:gd name="connsiteY3" fmla="*/ 173325 h 1854197"/>
              <a:gd name="connsiteX4" fmla="*/ 969677 w 1955241"/>
              <a:gd name="connsiteY4" fmla="*/ 161322 h 1854197"/>
              <a:gd name="connsiteX5" fmla="*/ 1296690 w 1955241"/>
              <a:gd name="connsiteY5" fmla="*/ 159853 h 1854197"/>
              <a:gd name="connsiteX6" fmla="*/ 1296689 w 1955241"/>
              <a:gd name="connsiteY6" fmla="*/ 0 h 1854197"/>
              <a:gd name="connsiteX7" fmla="*/ 1594259 w 1955241"/>
              <a:gd name="connsiteY7" fmla="*/ 3829 h 1854197"/>
              <a:gd name="connsiteX8" fmla="*/ 1594259 w 1955241"/>
              <a:gd name="connsiteY8" fmla="*/ 162673 h 1854197"/>
              <a:gd name="connsiteX9" fmla="*/ 1655302 w 1955241"/>
              <a:gd name="connsiteY9" fmla="*/ 162663 h 1854197"/>
              <a:gd name="connsiteX10" fmla="*/ 1955241 w 1955241"/>
              <a:gd name="connsiteY10" fmla="*/ 786373 h 1854197"/>
              <a:gd name="connsiteX11" fmla="*/ 1704943 w 1955241"/>
              <a:gd name="connsiteY11" fmla="*/ 784733 h 1854197"/>
              <a:gd name="connsiteX12" fmla="*/ 1708817 w 1955241"/>
              <a:gd name="connsiteY12" fmla="*/ 1854197 h 1854197"/>
              <a:gd name="connsiteX0" fmla="*/ 222917 w 1955241"/>
              <a:gd name="connsiteY0" fmla="*/ 1852962 h 1854197"/>
              <a:gd name="connsiteX1" fmla="*/ 226791 w 1955241"/>
              <a:gd name="connsiteY1" fmla="*/ 780775 h 1854197"/>
              <a:gd name="connsiteX2" fmla="*/ 0 w 1955241"/>
              <a:gd name="connsiteY2" fmla="*/ 773114 h 1854197"/>
              <a:gd name="connsiteX3" fmla="*/ 278969 w 1955241"/>
              <a:gd name="connsiteY3" fmla="*/ 165663 h 1854197"/>
              <a:gd name="connsiteX4" fmla="*/ 969677 w 1955241"/>
              <a:gd name="connsiteY4" fmla="*/ 161322 h 1854197"/>
              <a:gd name="connsiteX5" fmla="*/ 1296690 w 1955241"/>
              <a:gd name="connsiteY5" fmla="*/ 159853 h 1854197"/>
              <a:gd name="connsiteX6" fmla="*/ 1296689 w 1955241"/>
              <a:gd name="connsiteY6" fmla="*/ 0 h 1854197"/>
              <a:gd name="connsiteX7" fmla="*/ 1594259 w 1955241"/>
              <a:gd name="connsiteY7" fmla="*/ 3829 h 1854197"/>
              <a:gd name="connsiteX8" fmla="*/ 1594259 w 1955241"/>
              <a:gd name="connsiteY8" fmla="*/ 162673 h 1854197"/>
              <a:gd name="connsiteX9" fmla="*/ 1655302 w 1955241"/>
              <a:gd name="connsiteY9" fmla="*/ 162663 h 1854197"/>
              <a:gd name="connsiteX10" fmla="*/ 1955241 w 1955241"/>
              <a:gd name="connsiteY10" fmla="*/ 786373 h 1854197"/>
              <a:gd name="connsiteX11" fmla="*/ 1704943 w 1955241"/>
              <a:gd name="connsiteY11" fmla="*/ 784733 h 1854197"/>
              <a:gd name="connsiteX12" fmla="*/ 1708817 w 1955241"/>
              <a:gd name="connsiteY12" fmla="*/ 1854197 h 1854197"/>
              <a:gd name="connsiteX0" fmla="*/ 222917 w 1955241"/>
              <a:gd name="connsiteY0" fmla="*/ 1852962 h 1854197"/>
              <a:gd name="connsiteX1" fmla="*/ 226791 w 1955241"/>
              <a:gd name="connsiteY1" fmla="*/ 780775 h 1854197"/>
              <a:gd name="connsiteX2" fmla="*/ 0 w 1955241"/>
              <a:gd name="connsiteY2" fmla="*/ 773114 h 1854197"/>
              <a:gd name="connsiteX3" fmla="*/ 278969 w 1955241"/>
              <a:gd name="connsiteY3" fmla="*/ 165663 h 1854197"/>
              <a:gd name="connsiteX4" fmla="*/ 969677 w 1955241"/>
              <a:gd name="connsiteY4" fmla="*/ 161322 h 1854197"/>
              <a:gd name="connsiteX5" fmla="*/ 1257944 w 1955241"/>
              <a:gd name="connsiteY5" fmla="*/ 159853 h 1854197"/>
              <a:gd name="connsiteX6" fmla="*/ 1296689 w 1955241"/>
              <a:gd name="connsiteY6" fmla="*/ 0 h 1854197"/>
              <a:gd name="connsiteX7" fmla="*/ 1594259 w 1955241"/>
              <a:gd name="connsiteY7" fmla="*/ 3829 h 1854197"/>
              <a:gd name="connsiteX8" fmla="*/ 1594259 w 1955241"/>
              <a:gd name="connsiteY8" fmla="*/ 162673 h 1854197"/>
              <a:gd name="connsiteX9" fmla="*/ 1655302 w 1955241"/>
              <a:gd name="connsiteY9" fmla="*/ 162663 h 1854197"/>
              <a:gd name="connsiteX10" fmla="*/ 1955241 w 1955241"/>
              <a:gd name="connsiteY10" fmla="*/ 786373 h 1854197"/>
              <a:gd name="connsiteX11" fmla="*/ 1704943 w 1955241"/>
              <a:gd name="connsiteY11" fmla="*/ 784733 h 1854197"/>
              <a:gd name="connsiteX12" fmla="*/ 1708817 w 1955241"/>
              <a:gd name="connsiteY12" fmla="*/ 1854197 h 1854197"/>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94259 w 1955241"/>
              <a:gd name="connsiteY7" fmla="*/ 0 h 1850368"/>
              <a:gd name="connsiteX8" fmla="*/ 1594259 w 1955241"/>
              <a:gd name="connsiteY8" fmla="*/ 158844 h 1850368"/>
              <a:gd name="connsiteX9" fmla="*/ 1655302 w 1955241"/>
              <a:gd name="connsiteY9" fmla="*/ 158834 h 1850368"/>
              <a:gd name="connsiteX10" fmla="*/ 1955241 w 1955241"/>
              <a:gd name="connsiteY10" fmla="*/ 782544 h 1850368"/>
              <a:gd name="connsiteX11" fmla="*/ 1704943 w 1955241"/>
              <a:gd name="connsiteY11" fmla="*/ 780904 h 1850368"/>
              <a:gd name="connsiteX12" fmla="*/ 1708817 w 1955241"/>
              <a:gd name="connsiteY12" fmla="*/ 1850368 h 1850368"/>
              <a:gd name="connsiteX0" fmla="*/ 222917 w 1955241"/>
              <a:gd name="connsiteY0" fmla="*/ 1852964 h 1854199"/>
              <a:gd name="connsiteX1" fmla="*/ 226791 w 1955241"/>
              <a:gd name="connsiteY1" fmla="*/ 780777 h 1854199"/>
              <a:gd name="connsiteX2" fmla="*/ 0 w 1955241"/>
              <a:gd name="connsiteY2" fmla="*/ 773116 h 1854199"/>
              <a:gd name="connsiteX3" fmla="*/ 278969 w 1955241"/>
              <a:gd name="connsiteY3" fmla="*/ 165665 h 1854199"/>
              <a:gd name="connsiteX4" fmla="*/ 969677 w 1955241"/>
              <a:gd name="connsiteY4" fmla="*/ 161324 h 1854199"/>
              <a:gd name="connsiteX5" fmla="*/ 1257944 w 1955241"/>
              <a:gd name="connsiteY5" fmla="*/ 159855 h 1854199"/>
              <a:gd name="connsiteX6" fmla="*/ 1257943 w 1955241"/>
              <a:gd name="connsiteY6" fmla="*/ 3833 h 1854199"/>
              <a:gd name="connsiteX7" fmla="*/ 1543889 w 1955241"/>
              <a:gd name="connsiteY7" fmla="*/ 0 h 1854199"/>
              <a:gd name="connsiteX8" fmla="*/ 1594259 w 1955241"/>
              <a:gd name="connsiteY8" fmla="*/ 162675 h 1854199"/>
              <a:gd name="connsiteX9" fmla="*/ 1655302 w 1955241"/>
              <a:gd name="connsiteY9" fmla="*/ 162665 h 1854199"/>
              <a:gd name="connsiteX10" fmla="*/ 1955241 w 1955241"/>
              <a:gd name="connsiteY10" fmla="*/ 786375 h 1854199"/>
              <a:gd name="connsiteX11" fmla="*/ 1704943 w 1955241"/>
              <a:gd name="connsiteY11" fmla="*/ 784735 h 1854199"/>
              <a:gd name="connsiteX12" fmla="*/ 1708817 w 1955241"/>
              <a:gd name="connsiteY12" fmla="*/ 1854199 h 1854199"/>
              <a:gd name="connsiteX0" fmla="*/ 222917 w 1955241"/>
              <a:gd name="connsiteY0" fmla="*/ 1852964 h 1854199"/>
              <a:gd name="connsiteX1" fmla="*/ 226791 w 1955241"/>
              <a:gd name="connsiteY1" fmla="*/ 780777 h 1854199"/>
              <a:gd name="connsiteX2" fmla="*/ 0 w 1955241"/>
              <a:gd name="connsiteY2" fmla="*/ 773116 h 1854199"/>
              <a:gd name="connsiteX3" fmla="*/ 278969 w 1955241"/>
              <a:gd name="connsiteY3" fmla="*/ 165665 h 1854199"/>
              <a:gd name="connsiteX4" fmla="*/ 969677 w 1955241"/>
              <a:gd name="connsiteY4" fmla="*/ 161324 h 1854199"/>
              <a:gd name="connsiteX5" fmla="*/ 1257944 w 1955241"/>
              <a:gd name="connsiteY5" fmla="*/ 159855 h 1854199"/>
              <a:gd name="connsiteX6" fmla="*/ 1257943 w 1955241"/>
              <a:gd name="connsiteY6" fmla="*/ 3833 h 1854199"/>
              <a:gd name="connsiteX7" fmla="*/ 1543889 w 1955241"/>
              <a:gd name="connsiteY7" fmla="*/ 0 h 1854199"/>
              <a:gd name="connsiteX8" fmla="*/ 1536141 w 1955241"/>
              <a:gd name="connsiteY8" fmla="*/ 158843 h 1854199"/>
              <a:gd name="connsiteX9" fmla="*/ 1655302 w 1955241"/>
              <a:gd name="connsiteY9" fmla="*/ 162665 h 1854199"/>
              <a:gd name="connsiteX10" fmla="*/ 1955241 w 1955241"/>
              <a:gd name="connsiteY10" fmla="*/ 786375 h 1854199"/>
              <a:gd name="connsiteX11" fmla="*/ 1704943 w 1955241"/>
              <a:gd name="connsiteY11" fmla="*/ 784735 h 1854199"/>
              <a:gd name="connsiteX12" fmla="*/ 1708817 w 1955241"/>
              <a:gd name="connsiteY12" fmla="*/ 1854199 h 1854199"/>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43889 w 1955241"/>
              <a:gd name="connsiteY7" fmla="*/ 0 h 1850368"/>
              <a:gd name="connsiteX8" fmla="*/ 1536141 w 1955241"/>
              <a:gd name="connsiteY8" fmla="*/ 155012 h 1850368"/>
              <a:gd name="connsiteX9" fmla="*/ 1655302 w 1955241"/>
              <a:gd name="connsiteY9" fmla="*/ 158834 h 1850368"/>
              <a:gd name="connsiteX10" fmla="*/ 1955241 w 1955241"/>
              <a:gd name="connsiteY10" fmla="*/ 782544 h 1850368"/>
              <a:gd name="connsiteX11" fmla="*/ 1704943 w 1955241"/>
              <a:gd name="connsiteY11" fmla="*/ 780904 h 1850368"/>
              <a:gd name="connsiteX12" fmla="*/ 1708817 w 1955241"/>
              <a:gd name="connsiteY12" fmla="*/ 1850368 h 1850368"/>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43889 w 1955241"/>
              <a:gd name="connsiteY7" fmla="*/ 0 h 1850368"/>
              <a:gd name="connsiteX8" fmla="*/ 1547765 w 1955241"/>
              <a:gd name="connsiteY8" fmla="*/ 151181 h 1850368"/>
              <a:gd name="connsiteX9" fmla="*/ 1655302 w 1955241"/>
              <a:gd name="connsiteY9" fmla="*/ 158834 h 1850368"/>
              <a:gd name="connsiteX10" fmla="*/ 1955241 w 1955241"/>
              <a:gd name="connsiteY10" fmla="*/ 782544 h 1850368"/>
              <a:gd name="connsiteX11" fmla="*/ 1704943 w 1955241"/>
              <a:gd name="connsiteY11" fmla="*/ 780904 h 1850368"/>
              <a:gd name="connsiteX12" fmla="*/ 1708817 w 1955241"/>
              <a:gd name="connsiteY12" fmla="*/ 1850368 h 1850368"/>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43889 w 1955241"/>
              <a:gd name="connsiteY7" fmla="*/ 0 h 1850368"/>
              <a:gd name="connsiteX8" fmla="*/ 1543890 w 1955241"/>
              <a:gd name="connsiteY8" fmla="*/ 147351 h 1850368"/>
              <a:gd name="connsiteX9" fmla="*/ 1655302 w 1955241"/>
              <a:gd name="connsiteY9" fmla="*/ 158834 h 1850368"/>
              <a:gd name="connsiteX10" fmla="*/ 1955241 w 1955241"/>
              <a:gd name="connsiteY10" fmla="*/ 782544 h 1850368"/>
              <a:gd name="connsiteX11" fmla="*/ 1704943 w 1955241"/>
              <a:gd name="connsiteY11" fmla="*/ 780904 h 1850368"/>
              <a:gd name="connsiteX12" fmla="*/ 1708817 w 1955241"/>
              <a:gd name="connsiteY12" fmla="*/ 1850368 h 1850368"/>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43889 w 1955241"/>
              <a:gd name="connsiteY7" fmla="*/ 0 h 1850368"/>
              <a:gd name="connsiteX8" fmla="*/ 1543890 w 1955241"/>
              <a:gd name="connsiteY8" fmla="*/ 147351 h 1850368"/>
              <a:gd name="connsiteX9" fmla="*/ 1655302 w 1955241"/>
              <a:gd name="connsiteY9" fmla="*/ 155003 h 1850368"/>
              <a:gd name="connsiteX10" fmla="*/ 1955241 w 1955241"/>
              <a:gd name="connsiteY10" fmla="*/ 782544 h 1850368"/>
              <a:gd name="connsiteX11" fmla="*/ 1704943 w 1955241"/>
              <a:gd name="connsiteY11" fmla="*/ 780904 h 1850368"/>
              <a:gd name="connsiteX12" fmla="*/ 1708817 w 1955241"/>
              <a:gd name="connsiteY12" fmla="*/ 1850368 h 1850368"/>
              <a:gd name="connsiteX0" fmla="*/ 222917 w 1955241"/>
              <a:gd name="connsiteY0" fmla="*/ 1849133 h 1850368"/>
              <a:gd name="connsiteX1" fmla="*/ 226791 w 1955241"/>
              <a:gd name="connsiteY1" fmla="*/ 776946 h 1850368"/>
              <a:gd name="connsiteX2" fmla="*/ 0 w 1955241"/>
              <a:gd name="connsiteY2" fmla="*/ 769285 h 1850368"/>
              <a:gd name="connsiteX3" fmla="*/ 278969 w 1955241"/>
              <a:gd name="connsiteY3" fmla="*/ 161834 h 1850368"/>
              <a:gd name="connsiteX4" fmla="*/ 969677 w 1955241"/>
              <a:gd name="connsiteY4" fmla="*/ 157493 h 1850368"/>
              <a:gd name="connsiteX5" fmla="*/ 1257944 w 1955241"/>
              <a:gd name="connsiteY5" fmla="*/ 156024 h 1850368"/>
              <a:gd name="connsiteX6" fmla="*/ 1257943 w 1955241"/>
              <a:gd name="connsiteY6" fmla="*/ 2 h 1850368"/>
              <a:gd name="connsiteX7" fmla="*/ 1543889 w 1955241"/>
              <a:gd name="connsiteY7" fmla="*/ 0 h 1850368"/>
              <a:gd name="connsiteX8" fmla="*/ 1543890 w 1955241"/>
              <a:gd name="connsiteY8" fmla="*/ 147351 h 1850368"/>
              <a:gd name="connsiteX9" fmla="*/ 1655302 w 1955241"/>
              <a:gd name="connsiteY9" fmla="*/ 151172 h 1850368"/>
              <a:gd name="connsiteX10" fmla="*/ 1955241 w 1955241"/>
              <a:gd name="connsiteY10" fmla="*/ 782544 h 1850368"/>
              <a:gd name="connsiteX11" fmla="*/ 1704943 w 1955241"/>
              <a:gd name="connsiteY11" fmla="*/ 780904 h 1850368"/>
              <a:gd name="connsiteX12" fmla="*/ 1708817 w 1955241"/>
              <a:gd name="connsiteY12" fmla="*/ 1850368 h 185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5241" h="1850368">
                <a:moveTo>
                  <a:pt x="222917" y="1849133"/>
                </a:moveTo>
                <a:cubicBezTo>
                  <a:pt x="224208" y="1491737"/>
                  <a:pt x="225500" y="1134342"/>
                  <a:pt x="226791" y="776946"/>
                </a:cubicBezTo>
                <a:lnTo>
                  <a:pt x="0" y="769285"/>
                </a:lnTo>
                <a:lnTo>
                  <a:pt x="278969" y="161834"/>
                </a:lnTo>
                <a:lnTo>
                  <a:pt x="969677" y="157493"/>
                </a:lnTo>
                <a:lnTo>
                  <a:pt x="1257944" y="156024"/>
                </a:lnTo>
                <a:cubicBezTo>
                  <a:pt x="1256652" y="98909"/>
                  <a:pt x="1259235" y="57117"/>
                  <a:pt x="1257943" y="2"/>
                </a:cubicBezTo>
                <a:lnTo>
                  <a:pt x="1543889" y="0"/>
                </a:lnTo>
                <a:cubicBezTo>
                  <a:pt x="1542598" y="60610"/>
                  <a:pt x="1545181" y="86741"/>
                  <a:pt x="1543890" y="147351"/>
                </a:cubicBezTo>
                <a:lnTo>
                  <a:pt x="1655302" y="151172"/>
                </a:lnTo>
                <a:lnTo>
                  <a:pt x="1955241" y="782544"/>
                </a:lnTo>
                <a:lnTo>
                  <a:pt x="1704943" y="780904"/>
                </a:lnTo>
                <a:cubicBezTo>
                  <a:pt x="1706234" y="1148885"/>
                  <a:pt x="1707526" y="1482387"/>
                  <a:pt x="1708817" y="1850368"/>
                </a:cubicBezTo>
              </a:path>
            </a:pathLst>
          </a:custGeom>
          <a:noFill/>
          <a:ln w="762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cxnSp>
        <p:nvCxnSpPr>
          <p:cNvPr id="72" name="직선 연결선 71"/>
          <p:cNvCxnSpPr/>
          <p:nvPr/>
        </p:nvCxnSpPr>
        <p:spPr>
          <a:xfrm>
            <a:off x="3339796" y="4557937"/>
            <a:ext cx="3201261" cy="0"/>
          </a:xfrm>
          <a:prstGeom prst="line">
            <a:avLst/>
          </a:prstGeom>
          <a:ln w="76200">
            <a:gradFill flip="none" rotWithShape="1">
              <a:gsLst>
                <a:gs pos="0">
                  <a:schemeClr val="bg1">
                    <a:lumMod val="75000"/>
                    <a:alpha val="0"/>
                  </a:schemeClr>
                </a:gs>
                <a:gs pos="85000">
                  <a:srgbClr val="BFBFBF"/>
                </a:gs>
                <a:gs pos="15000">
                  <a:srgbClr val="BFBFBF"/>
                </a:gs>
                <a:gs pos="50000">
                  <a:schemeClr val="bg1">
                    <a:lumMod val="75000"/>
                  </a:schemeClr>
                </a:gs>
                <a:gs pos="5000">
                  <a:srgbClr val="BFBFBF">
                    <a:alpha val="50000"/>
                  </a:srgbClr>
                </a:gs>
                <a:gs pos="95000">
                  <a:schemeClr val="bg1">
                    <a:lumMod val="75000"/>
                    <a:alpha val="50000"/>
                  </a:schemeClr>
                </a:gs>
                <a:gs pos="100000">
                  <a:schemeClr val="bg1">
                    <a:lumMod val="75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73" name="그룹 72"/>
          <p:cNvGrpSpPr/>
          <p:nvPr/>
        </p:nvGrpSpPr>
        <p:grpSpPr>
          <a:xfrm>
            <a:off x="5823531" y="3356992"/>
            <a:ext cx="68384" cy="619363"/>
            <a:chOff x="6094834" y="4747260"/>
            <a:chExt cx="89272" cy="799465"/>
          </a:xfrm>
        </p:grpSpPr>
        <p:sp>
          <p:nvSpPr>
            <p:cNvPr id="74" name="직사각형 73"/>
            <p:cNvSpPr/>
            <p:nvPr/>
          </p:nvSpPr>
          <p:spPr>
            <a:xfrm>
              <a:off x="6096793" y="4747260"/>
              <a:ext cx="82552" cy="79946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cxnSp>
          <p:nvCxnSpPr>
            <p:cNvPr id="75" name="직선 연결선 74"/>
            <p:cNvCxnSpPr/>
            <p:nvPr/>
          </p:nvCxnSpPr>
          <p:spPr>
            <a:xfrm>
              <a:off x="6094834" y="4794771"/>
              <a:ext cx="892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직선 연결선 75"/>
            <p:cNvCxnSpPr/>
            <p:nvPr/>
          </p:nvCxnSpPr>
          <p:spPr>
            <a:xfrm>
              <a:off x="6094834" y="5497239"/>
              <a:ext cx="892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직선 연결선 76"/>
            <p:cNvCxnSpPr/>
            <p:nvPr/>
          </p:nvCxnSpPr>
          <p:spPr>
            <a:xfrm>
              <a:off x="6150370" y="4799299"/>
              <a:ext cx="0" cy="70138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직선 연결선 77"/>
            <p:cNvCxnSpPr/>
            <p:nvPr/>
          </p:nvCxnSpPr>
          <p:spPr>
            <a:xfrm>
              <a:off x="6126557" y="4799299"/>
              <a:ext cx="0" cy="70138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9" name="오른쪽 화살표 78"/>
          <p:cNvSpPr/>
          <p:nvPr/>
        </p:nvSpPr>
        <p:spPr>
          <a:xfrm rot="10800000">
            <a:off x="5681135" y="3644690"/>
            <a:ext cx="369876" cy="178637"/>
          </a:xfrm>
          <a:prstGeom prst="rightArrow">
            <a:avLst/>
          </a:prstGeom>
          <a:gradFill>
            <a:gsLst>
              <a:gs pos="0">
                <a:srgbClr val="00B0F0">
                  <a:alpha val="0"/>
                </a:srgbClr>
              </a:gs>
              <a:gs pos="100000">
                <a:srgbClr val="00B0F0"/>
              </a:gs>
              <a:gs pos="12000">
                <a:srgbClr val="00B0F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80" name="오른쪽 화살표 79"/>
          <p:cNvSpPr/>
          <p:nvPr/>
        </p:nvSpPr>
        <p:spPr>
          <a:xfrm rot="10800000" flipH="1">
            <a:off x="5689927" y="3480081"/>
            <a:ext cx="369876" cy="178637"/>
          </a:xfrm>
          <a:prstGeom prst="rightArrow">
            <a:avLst/>
          </a:prstGeom>
          <a:gradFill>
            <a:gsLst>
              <a:gs pos="0">
                <a:srgbClr val="A50034">
                  <a:alpha val="0"/>
                </a:srgbClr>
              </a:gs>
              <a:gs pos="100000">
                <a:srgbClr val="A50034"/>
              </a:gs>
              <a:gs pos="12000">
                <a:srgbClr val="A5003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81" name="Text Box 35"/>
          <p:cNvSpPr txBox="1">
            <a:spLocks noChangeArrowheads="1"/>
          </p:cNvSpPr>
          <p:nvPr/>
        </p:nvSpPr>
        <p:spPr bwMode="auto">
          <a:xfrm>
            <a:off x="6897216" y="1517318"/>
            <a:ext cx="2208588" cy="369332"/>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4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r>
              <a:rPr lang="en-US" altLang="ko-KR" sz="1800" dirty="0">
                <a:solidFill>
                  <a:prstClr val="black">
                    <a:lumMod val="85000"/>
                    <a:lumOff val="15000"/>
                  </a:prstClr>
                </a:solidFill>
                <a:latin typeface="Arial" panose="020B0604020202020204" pitchFamily="34" charset="0"/>
                <a:cs typeface="Arial" panose="020B0604020202020204" pitchFamily="34" charset="0"/>
              </a:rPr>
              <a:t>Natural Ventilation</a:t>
            </a:r>
          </a:p>
        </p:txBody>
      </p:sp>
      <p:sp>
        <p:nvSpPr>
          <p:cNvPr id="82" name="Text Box 3"/>
          <p:cNvSpPr txBox="1">
            <a:spLocks noChangeArrowheads="1"/>
          </p:cNvSpPr>
          <p:nvPr/>
        </p:nvSpPr>
        <p:spPr bwMode="auto">
          <a:xfrm>
            <a:off x="6657555" y="5358244"/>
            <a:ext cx="2754262" cy="584775"/>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pPr defTabSz="914321"/>
            <a:r>
              <a:rPr lang="en-US" altLang="ko-KR" sz="1600" dirty="0">
                <a:solidFill>
                  <a:prstClr val="black">
                    <a:lumMod val="85000"/>
                    <a:lumOff val="15000"/>
                  </a:prstClr>
                </a:solidFill>
                <a:latin typeface="Arial" panose="020B0604020202020204" pitchFamily="34" charset="0"/>
                <a:cs typeface="Arial" panose="020B0604020202020204" pitchFamily="34" charset="0"/>
              </a:rPr>
              <a:t>Natural ventilation’s</a:t>
            </a:r>
            <a:br>
              <a:rPr lang="en-US" altLang="ko-KR" sz="1600" dirty="0">
                <a:solidFill>
                  <a:prstClr val="black">
                    <a:lumMod val="85000"/>
                    <a:lumOff val="15000"/>
                  </a:prstClr>
                </a:solidFill>
                <a:latin typeface="Arial" panose="020B0604020202020204" pitchFamily="34" charset="0"/>
                <a:cs typeface="Arial" panose="020B0604020202020204" pitchFamily="34" charset="0"/>
              </a:rPr>
            </a:br>
            <a:r>
              <a:rPr lang="en-US" altLang="ko-KR" sz="1600" dirty="0">
                <a:solidFill>
                  <a:prstClr val="black">
                    <a:lumMod val="85000"/>
                    <a:lumOff val="15000"/>
                  </a:prstClr>
                </a:solidFill>
                <a:latin typeface="Arial" panose="020B0604020202020204" pitchFamily="34" charset="0"/>
                <a:cs typeface="Arial" panose="020B0604020202020204" pitchFamily="34" charset="0"/>
              </a:rPr>
              <a:t>heat energy loss.</a:t>
            </a:r>
          </a:p>
        </p:txBody>
      </p:sp>
      <p:grpSp>
        <p:nvGrpSpPr>
          <p:cNvPr id="83" name="그룹 82"/>
          <p:cNvGrpSpPr/>
          <p:nvPr/>
        </p:nvGrpSpPr>
        <p:grpSpPr>
          <a:xfrm>
            <a:off x="4610153" y="3304034"/>
            <a:ext cx="836953" cy="430887"/>
            <a:chOff x="4610153" y="3304034"/>
            <a:chExt cx="836953" cy="430887"/>
          </a:xfrm>
        </p:grpSpPr>
        <p:sp>
          <p:nvSpPr>
            <p:cNvPr id="84" name="Text Box 35"/>
            <p:cNvSpPr txBox="1">
              <a:spLocks noChangeArrowheads="1"/>
            </p:cNvSpPr>
            <p:nvPr/>
          </p:nvSpPr>
          <p:spPr bwMode="auto">
            <a:xfrm>
              <a:off x="4618361" y="3304034"/>
              <a:ext cx="828745" cy="43088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b="0" dirty="0">
                  <a:solidFill>
                    <a:prstClr val="black">
                      <a:lumMod val="65000"/>
                      <a:lumOff val="35000"/>
                    </a:prstClr>
                  </a:solidFill>
                  <a:latin typeface="Arial" panose="020B0604020202020204" pitchFamily="34" charset="0"/>
                  <a:cs typeface="Arial" panose="020B0604020202020204" pitchFamily="34" charset="0"/>
                </a:rPr>
                <a:t>Indoor temp.</a:t>
              </a:r>
            </a:p>
            <a:p>
              <a:r>
                <a:rPr lang="en-US" altLang="ko-KR" b="0" dirty="0">
                  <a:solidFill>
                    <a:srgbClr val="C60751"/>
                  </a:solidFill>
                  <a:latin typeface="Arial" panose="020B0604020202020204" pitchFamily="34" charset="0"/>
                  <a:cs typeface="Arial" panose="020B0604020202020204" pitchFamily="34" charset="0"/>
                </a:rPr>
                <a:t>72°F</a:t>
              </a:r>
            </a:p>
          </p:txBody>
        </p:sp>
        <p:pic>
          <p:nvPicPr>
            <p:cNvPr id="85" name="그림 8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10153" y="3348272"/>
              <a:ext cx="98372" cy="347196"/>
            </a:xfrm>
            <a:prstGeom prst="rect">
              <a:avLst/>
            </a:prstGeom>
          </p:spPr>
        </p:pic>
      </p:grpSp>
      <p:grpSp>
        <p:nvGrpSpPr>
          <p:cNvPr id="91" name="그룹 90"/>
          <p:cNvGrpSpPr/>
          <p:nvPr/>
        </p:nvGrpSpPr>
        <p:grpSpPr>
          <a:xfrm>
            <a:off x="3031923" y="2028883"/>
            <a:ext cx="1060426" cy="1112085"/>
            <a:chOff x="5595178" y="2929870"/>
            <a:chExt cx="1060426" cy="759248"/>
          </a:xfrm>
        </p:grpSpPr>
        <p:sp>
          <p:nvSpPr>
            <p:cNvPr id="92" name="Text Box 35"/>
            <p:cNvSpPr txBox="1">
              <a:spLocks noChangeArrowheads="1"/>
            </p:cNvSpPr>
            <p:nvPr/>
          </p:nvSpPr>
          <p:spPr bwMode="auto">
            <a:xfrm>
              <a:off x="5595178" y="2929870"/>
              <a:ext cx="1060426" cy="40974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Outdoor temp. (Winter)</a:t>
              </a:r>
            </a:p>
            <a:p>
              <a:r>
                <a:rPr lang="en-US" altLang="ko-KR" b="0" dirty="0">
                  <a:solidFill>
                    <a:srgbClr val="0070C0"/>
                  </a:solidFill>
                  <a:latin typeface="Arial" panose="020B0604020202020204" pitchFamily="34" charset="0"/>
                  <a:cs typeface="Arial" panose="020B0604020202020204" pitchFamily="34" charset="0"/>
                </a:rPr>
                <a:t>23°F</a:t>
              </a:r>
            </a:p>
          </p:txBody>
        </p:sp>
        <p:pic>
          <p:nvPicPr>
            <p:cNvPr id="93" name="그림 9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759" y="3341922"/>
              <a:ext cx="98372" cy="347196"/>
            </a:xfrm>
            <a:prstGeom prst="rect">
              <a:avLst/>
            </a:prstGeom>
          </p:spPr>
        </p:pic>
      </p:grpSp>
      <p:sp>
        <p:nvSpPr>
          <p:cNvPr id="94" name="타원 93"/>
          <p:cNvSpPr/>
          <p:nvPr/>
        </p:nvSpPr>
        <p:spPr>
          <a:xfrm>
            <a:off x="537296" y="2294544"/>
            <a:ext cx="2880000" cy="2880000"/>
          </a:xfrm>
          <a:prstGeom prst="ellipse">
            <a:avLst/>
          </a:prstGeom>
          <a:gradFill flip="none" rotWithShape="1">
            <a:gsLst>
              <a:gs pos="43000">
                <a:schemeClr val="bg1"/>
              </a:gs>
              <a:gs pos="0">
                <a:srgbClr val="FF9966"/>
              </a:gs>
              <a:gs pos="84000">
                <a:schemeClr val="accent1">
                  <a:lumMod val="40000"/>
                  <a:lumOff val="60000"/>
                </a:schemeClr>
              </a:gs>
            </a:gsLst>
            <a:lin ang="10800000" scaled="1"/>
            <a:tileRect/>
          </a:gradFill>
          <a:ln w="57150">
            <a:noFill/>
          </a:ln>
          <a:effectLst>
            <a:innerShdw blurRad="101600">
              <a:schemeClr val="bg1">
                <a:lumMod val="8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95" name="TextBox 94"/>
          <p:cNvSpPr txBox="1"/>
          <p:nvPr/>
        </p:nvSpPr>
        <p:spPr>
          <a:xfrm>
            <a:off x="4127874" y="4744223"/>
            <a:ext cx="1654482" cy="295466"/>
          </a:xfrm>
          <a:prstGeom prst="rect">
            <a:avLst/>
          </a:prstGeom>
          <a:noFill/>
        </p:spPr>
        <p:txBody>
          <a:bodyPr wrap="square" rtlCol="0">
            <a:spAutoFit/>
            <a:scene3d>
              <a:camera prst="orthographicFront"/>
              <a:lightRig rig="threePt" dir="t"/>
            </a:scene3d>
            <a:sp3d>
              <a:bevelT w="1270" h="1270"/>
            </a:sp3d>
          </a:bodyPr>
          <a:lstStyle>
            <a:defPPr>
              <a:defRPr lang="ko-KR"/>
            </a:defPPr>
            <a:lvl1pPr>
              <a:lnSpc>
                <a:spcPct val="110000"/>
              </a:lnSpc>
              <a:defRPr sz="1300" b="1">
                <a:gradFill flip="none" rotWithShape="1">
                  <a:gsLst>
                    <a:gs pos="0">
                      <a:srgbClr val="C60751"/>
                    </a:gs>
                    <a:gs pos="100000">
                      <a:srgbClr val="8F0F3D"/>
                    </a:gs>
                  </a:gsLst>
                  <a:lin ang="5400000" scaled="1"/>
                  <a:tileRect/>
                </a:gradFill>
                <a:latin typeface="맑은 고딕" panose="020B0503020000020004" pitchFamily="50" charset="-127"/>
                <a:ea typeface="맑은 고딕" panose="020B0503020000020004" pitchFamily="50" charset="-127"/>
              </a:defRPr>
            </a:lvl1pPr>
          </a:lstStyle>
          <a:p>
            <a:pPr algn="ctr"/>
            <a:r>
              <a:rPr lang="en-US" altLang="ko-KR" sz="1200" b="0" spc="-80" dirty="0">
                <a:latin typeface="Arial" panose="020B0604020202020204" pitchFamily="34" charset="0"/>
                <a:cs typeface="Arial" panose="020B0604020202020204" pitchFamily="34" charset="0"/>
              </a:rPr>
              <a:t>Energy Saving</a:t>
            </a:r>
            <a:endParaRPr lang="ko-KR" altLang="en-US" sz="1200" b="0" spc="-80" dirty="0">
              <a:latin typeface="Arial" panose="020B0604020202020204" pitchFamily="34" charset="0"/>
              <a:cs typeface="Arial" panose="020B0604020202020204" pitchFamily="34" charset="0"/>
            </a:endParaRPr>
          </a:p>
        </p:txBody>
      </p:sp>
      <p:pic>
        <p:nvPicPr>
          <p:cNvPr id="96" name="그림 9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3130178">
            <a:off x="499837" y="3454023"/>
            <a:ext cx="948938" cy="1112196"/>
          </a:xfrm>
          <a:prstGeom prst="rect">
            <a:avLst/>
          </a:prstGeom>
        </p:spPr>
      </p:pic>
      <p:cxnSp>
        <p:nvCxnSpPr>
          <p:cNvPr id="97" name="직선 연결선 96"/>
          <p:cNvCxnSpPr/>
          <p:nvPr/>
        </p:nvCxnSpPr>
        <p:spPr>
          <a:xfrm>
            <a:off x="2070291" y="2718922"/>
            <a:ext cx="0" cy="1929278"/>
          </a:xfrm>
          <a:prstGeom prst="line">
            <a:avLst/>
          </a:prstGeom>
          <a:ln w="19050">
            <a:gradFill flip="none" rotWithShape="1">
              <a:gsLst>
                <a:gs pos="25000">
                  <a:schemeClr val="tx1">
                    <a:lumMod val="50000"/>
                    <a:lumOff val="50000"/>
                  </a:schemeClr>
                </a:gs>
                <a:gs pos="0">
                  <a:schemeClr val="bg1">
                    <a:lumMod val="75000"/>
                    <a:alpha val="0"/>
                  </a:schemeClr>
                </a:gs>
                <a:gs pos="50000">
                  <a:schemeClr val="tx1">
                    <a:lumMod val="50000"/>
                    <a:lumOff val="50000"/>
                  </a:schemeClr>
                </a:gs>
                <a:gs pos="75000">
                  <a:schemeClr val="tx1">
                    <a:lumMod val="50000"/>
                    <a:lumOff val="50000"/>
                  </a:schemeClr>
                </a:gs>
                <a:gs pos="99000">
                  <a:schemeClr val="bg1">
                    <a:lumMod val="75000"/>
                    <a:alpha val="0"/>
                  </a:schemeClr>
                </a:gs>
              </a:gsLst>
              <a:lin ang="16200000" scaled="1"/>
              <a:tileRect/>
            </a:gradFill>
            <a:prstDash val="sysDot"/>
          </a:ln>
        </p:spPr>
        <p:style>
          <a:lnRef idx="1">
            <a:schemeClr val="accent1"/>
          </a:lnRef>
          <a:fillRef idx="0">
            <a:schemeClr val="accent1"/>
          </a:fillRef>
          <a:effectRef idx="0">
            <a:schemeClr val="accent1"/>
          </a:effectRef>
          <a:fontRef idx="minor">
            <a:schemeClr val="tx1"/>
          </a:fontRef>
        </p:style>
      </p:cxnSp>
      <p:sp>
        <p:nvSpPr>
          <p:cNvPr id="98" name="Text Box 35"/>
          <p:cNvSpPr txBox="1">
            <a:spLocks noChangeArrowheads="1"/>
          </p:cNvSpPr>
          <p:nvPr/>
        </p:nvSpPr>
        <p:spPr bwMode="auto">
          <a:xfrm>
            <a:off x="2177715" y="2519318"/>
            <a:ext cx="684001"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Indoor</a:t>
            </a:r>
          </a:p>
        </p:txBody>
      </p:sp>
      <p:sp>
        <p:nvSpPr>
          <p:cNvPr id="99" name="Text Box 35"/>
          <p:cNvSpPr txBox="1">
            <a:spLocks noChangeArrowheads="1"/>
          </p:cNvSpPr>
          <p:nvPr/>
        </p:nvSpPr>
        <p:spPr bwMode="auto">
          <a:xfrm>
            <a:off x="1256961" y="2519318"/>
            <a:ext cx="684001"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Outdoor </a:t>
            </a:r>
          </a:p>
        </p:txBody>
      </p:sp>
      <p:sp>
        <p:nvSpPr>
          <p:cNvPr id="100" name="Text Box 35"/>
          <p:cNvSpPr txBox="1">
            <a:spLocks noChangeArrowheads="1"/>
          </p:cNvSpPr>
          <p:nvPr/>
        </p:nvSpPr>
        <p:spPr bwMode="auto">
          <a:xfrm>
            <a:off x="2180662" y="4365104"/>
            <a:ext cx="991802" cy="43088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Indoor temp.</a:t>
            </a:r>
          </a:p>
          <a:p>
            <a:r>
              <a:rPr lang="en-US" altLang="ko-KR" b="0" dirty="0">
                <a:solidFill>
                  <a:srgbClr val="C60751"/>
                </a:solidFill>
                <a:latin typeface="Arial" panose="020B0604020202020204" pitchFamily="34" charset="0"/>
                <a:cs typeface="Arial" panose="020B0604020202020204" pitchFamily="34" charset="0"/>
              </a:rPr>
              <a:t>72°F</a:t>
            </a:r>
          </a:p>
        </p:txBody>
      </p:sp>
      <p:sp>
        <p:nvSpPr>
          <p:cNvPr id="101" name="Text Box 35"/>
          <p:cNvSpPr txBox="1">
            <a:spLocks noChangeArrowheads="1"/>
          </p:cNvSpPr>
          <p:nvPr/>
        </p:nvSpPr>
        <p:spPr bwMode="auto">
          <a:xfrm>
            <a:off x="854641" y="4365104"/>
            <a:ext cx="1064755" cy="43088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b="0" dirty="0">
                <a:solidFill>
                  <a:prstClr val="black">
                    <a:lumMod val="65000"/>
                    <a:lumOff val="35000"/>
                  </a:prstClr>
                </a:solidFill>
                <a:latin typeface="Arial" panose="020B0604020202020204" pitchFamily="34" charset="0"/>
                <a:cs typeface="Arial" panose="020B0604020202020204" pitchFamily="34" charset="0"/>
              </a:rPr>
              <a:t>Outdoor temp.</a:t>
            </a:r>
          </a:p>
          <a:p>
            <a:r>
              <a:rPr lang="en-US" altLang="ko-KR" b="0" dirty="0">
                <a:solidFill>
                  <a:srgbClr val="0070C0"/>
                </a:solidFill>
                <a:latin typeface="Arial" panose="020B0604020202020204" pitchFamily="34" charset="0"/>
                <a:cs typeface="Arial" panose="020B0604020202020204" pitchFamily="34" charset="0"/>
              </a:rPr>
              <a:t>23°F</a:t>
            </a:r>
          </a:p>
        </p:txBody>
      </p:sp>
      <p:grpSp>
        <p:nvGrpSpPr>
          <p:cNvPr id="102" name="그룹 101"/>
          <p:cNvGrpSpPr/>
          <p:nvPr/>
        </p:nvGrpSpPr>
        <p:grpSpPr>
          <a:xfrm rot="20837386">
            <a:off x="3828931" y="3507658"/>
            <a:ext cx="433030" cy="344051"/>
            <a:chOff x="938213" y="3250448"/>
            <a:chExt cx="1228757" cy="976271"/>
          </a:xfrm>
        </p:grpSpPr>
        <p:sp>
          <p:nvSpPr>
            <p:cNvPr id="103" name="자유형 102"/>
            <p:cNvSpPr/>
            <p:nvPr/>
          </p:nvSpPr>
          <p:spPr>
            <a:xfrm>
              <a:off x="938213" y="3662362"/>
              <a:ext cx="619125" cy="564357"/>
            </a:xfrm>
            <a:custGeom>
              <a:avLst/>
              <a:gdLst>
                <a:gd name="connsiteX0" fmla="*/ 0 w 619125"/>
                <a:gd name="connsiteY0" fmla="*/ 0 h 564357"/>
                <a:gd name="connsiteX1" fmla="*/ 283368 w 619125"/>
                <a:gd name="connsiteY1" fmla="*/ 61913 h 564357"/>
                <a:gd name="connsiteX2" fmla="*/ 619125 w 619125"/>
                <a:gd name="connsiteY2" fmla="*/ 564357 h 564357"/>
                <a:gd name="connsiteX3" fmla="*/ 345281 w 619125"/>
                <a:gd name="connsiteY3" fmla="*/ 509588 h 564357"/>
                <a:gd name="connsiteX4" fmla="*/ 0 w 619125"/>
                <a:gd name="connsiteY4" fmla="*/ 0 h 564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5" h="564357">
                  <a:moveTo>
                    <a:pt x="0" y="0"/>
                  </a:moveTo>
                  <a:lnTo>
                    <a:pt x="283368" y="61913"/>
                  </a:lnTo>
                  <a:lnTo>
                    <a:pt x="619125" y="564357"/>
                  </a:lnTo>
                  <a:lnTo>
                    <a:pt x="345281" y="509588"/>
                  </a:lnTo>
                  <a:lnTo>
                    <a:pt x="0" y="0"/>
                  </a:lnTo>
                  <a:close/>
                </a:path>
              </a:pathLst>
            </a:custGeom>
            <a:solidFill>
              <a:schemeClr val="bg1">
                <a:lumMod val="50000"/>
                <a:alpha val="3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04" name="그룹 103"/>
            <p:cNvGrpSpPr/>
            <p:nvPr/>
          </p:nvGrpSpPr>
          <p:grpSpPr>
            <a:xfrm>
              <a:off x="1200396" y="3250448"/>
              <a:ext cx="802609" cy="837488"/>
              <a:chOff x="3502423" y="3013470"/>
              <a:chExt cx="1184692" cy="1236175"/>
            </a:xfrm>
          </p:grpSpPr>
          <p:sp>
            <p:nvSpPr>
              <p:cNvPr id="106" name="정육면체 105"/>
              <p:cNvSpPr/>
              <p:nvPr/>
            </p:nvSpPr>
            <p:spPr>
              <a:xfrm rot="3390784">
                <a:off x="3495688" y="3058218"/>
                <a:ext cx="1198162" cy="1184692"/>
              </a:xfrm>
              <a:prstGeom prst="cub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07" name="그룹 106"/>
              <p:cNvGrpSpPr/>
              <p:nvPr/>
            </p:nvGrpSpPr>
            <p:grpSpPr>
              <a:xfrm>
                <a:off x="3531185" y="3013470"/>
                <a:ext cx="718256" cy="1196580"/>
                <a:chOff x="3498483" y="3001564"/>
                <a:chExt cx="741434" cy="1235193"/>
              </a:xfrm>
            </p:grpSpPr>
            <p:sp>
              <p:nvSpPr>
                <p:cNvPr id="108" name="직사각형 107"/>
                <p:cNvSpPr/>
                <p:nvPr/>
              </p:nvSpPr>
              <p:spPr>
                <a:xfrm rot="3408988">
                  <a:off x="3765954" y="3355600"/>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12" name="직사각형 111"/>
                <p:cNvSpPr/>
                <p:nvPr/>
              </p:nvSpPr>
              <p:spPr>
                <a:xfrm rot="3408988">
                  <a:off x="3661179" y="3422274"/>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14" name="직사각형 113"/>
                <p:cNvSpPr/>
                <p:nvPr/>
              </p:nvSpPr>
              <p:spPr>
                <a:xfrm rot="3408988">
                  <a:off x="3558785" y="3491331"/>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33" name="직사각형 132"/>
                <p:cNvSpPr/>
                <p:nvPr/>
              </p:nvSpPr>
              <p:spPr>
                <a:xfrm rot="3408988">
                  <a:off x="3454010" y="3558005"/>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39" name="직사각형 138"/>
                <p:cNvSpPr/>
                <p:nvPr/>
              </p:nvSpPr>
              <p:spPr>
                <a:xfrm rot="3408988">
                  <a:off x="3351616" y="3627062"/>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0" name="직사각형 139"/>
                <p:cNvSpPr/>
                <p:nvPr/>
              </p:nvSpPr>
              <p:spPr>
                <a:xfrm rot="3408988">
                  <a:off x="3246841" y="3693736"/>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1" name="직사각형 140"/>
                <p:cNvSpPr/>
                <p:nvPr/>
              </p:nvSpPr>
              <p:spPr>
                <a:xfrm rot="3408988">
                  <a:off x="3144447" y="3762793"/>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sp>
          <p:nvSpPr>
            <p:cNvPr id="105" name="자유형 104"/>
            <p:cNvSpPr/>
            <p:nvPr/>
          </p:nvSpPr>
          <p:spPr>
            <a:xfrm>
              <a:off x="1383539" y="3815501"/>
              <a:ext cx="783431" cy="392906"/>
            </a:xfrm>
            <a:custGeom>
              <a:avLst/>
              <a:gdLst>
                <a:gd name="connsiteX0" fmla="*/ 500062 w 783431"/>
                <a:gd name="connsiteY0" fmla="*/ 0 h 392906"/>
                <a:gd name="connsiteX1" fmla="*/ 783431 w 783431"/>
                <a:gd name="connsiteY1" fmla="*/ 59531 h 392906"/>
                <a:gd name="connsiteX2" fmla="*/ 280987 w 783431"/>
                <a:gd name="connsiteY2" fmla="*/ 392906 h 392906"/>
                <a:gd name="connsiteX3" fmla="*/ 0 w 783431"/>
                <a:gd name="connsiteY3" fmla="*/ 333375 h 392906"/>
                <a:gd name="connsiteX4" fmla="*/ 500062 w 783431"/>
                <a:gd name="connsiteY4" fmla="*/ 0 h 3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431" h="392906">
                  <a:moveTo>
                    <a:pt x="500062" y="0"/>
                  </a:moveTo>
                  <a:lnTo>
                    <a:pt x="783431" y="59531"/>
                  </a:lnTo>
                  <a:lnTo>
                    <a:pt x="280987" y="392906"/>
                  </a:lnTo>
                  <a:lnTo>
                    <a:pt x="0" y="333375"/>
                  </a:lnTo>
                  <a:lnTo>
                    <a:pt x="500062" y="0"/>
                  </a:lnTo>
                  <a:close/>
                </a:path>
              </a:pathLst>
            </a:custGeom>
            <a:solidFill>
              <a:schemeClr val="bg1">
                <a:lumMod val="50000"/>
                <a:alpha val="3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sp>
        <p:nvSpPr>
          <p:cNvPr id="142" name="직사각형 141"/>
          <p:cNvSpPr/>
          <p:nvPr/>
        </p:nvSpPr>
        <p:spPr>
          <a:xfrm>
            <a:off x="1973086" y="2308767"/>
            <a:ext cx="180326" cy="877131"/>
          </a:xfrm>
          <a:prstGeom prst="rect">
            <a:avLst/>
          </a:prstGeom>
          <a:blipFill>
            <a:blip r:embed="rId8">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3" name="직사각형 142"/>
          <p:cNvSpPr/>
          <p:nvPr/>
        </p:nvSpPr>
        <p:spPr>
          <a:xfrm>
            <a:off x="1973086" y="4288443"/>
            <a:ext cx="180326" cy="877131"/>
          </a:xfrm>
          <a:prstGeom prst="rect">
            <a:avLst/>
          </a:prstGeom>
          <a:blipFill>
            <a:blip r:embed="rId8">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4" name="직사각형 143"/>
          <p:cNvSpPr/>
          <p:nvPr/>
        </p:nvSpPr>
        <p:spPr>
          <a:xfrm>
            <a:off x="7908560" y="2308767"/>
            <a:ext cx="180326" cy="877131"/>
          </a:xfrm>
          <a:prstGeom prst="rect">
            <a:avLst/>
          </a:prstGeom>
          <a:blipFill>
            <a:blip r:embed="rId8">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5" name="직사각형 144"/>
          <p:cNvSpPr/>
          <p:nvPr/>
        </p:nvSpPr>
        <p:spPr>
          <a:xfrm>
            <a:off x="7908560" y="4288443"/>
            <a:ext cx="180326" cy="877131"/>
          </a:xfrm>
          <a:prstGeom prst="rect">
            <a:avLst/>
          </a:prstGeom>
          <a:blipFill>
            <a:blip r:embed="rId8">
              <a:extLst>
                <a:ext uri="{28A0092B-C50C-407E-A947-70E740481C1C}">
                  <a14:useLocalDpi xmlns:a14="http://schemas.microsoft.com/office/drawing/2010/main"/>
                </a:ext>
              </a:extLst>
            </a:blip>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6" name="TextBox 145"/>
          <p:cNvSpPr txBox="1"/>
          <p:nvPr/>
        </p:nvSpPr>
        <p:spPr>
          <a:xfrm flipH="1">
            <a:off x="4481476" y="1403974"/>
            <a:ext cx="918142" cy="646331"/>
          </a:xfrm>
          <a:prstGeom prst="rect">
            <a:avLst/>
          </a:prstGeom>
          <a:noFill/>
        </p:spPr>
        <p:txBody>
          <a:bodyPr wrap="square" rtlCol="0">
            <a:spAutoFit/>
            <a:scene3d>
              <a:camera prst="orthographicFront"/>
              <a:lightRig rig="threePt" dir="t"/>
            </a:scene3d>
            <a:sp3d extrusionH="50800">
              <a:bevelT w="1270" h="1270"/>
            </a:sp3d>
          </a:bodyPr>
          <a:lstStyle/>
          <a:p>
            <a:pPr algn="ctr"/>
            <a:r>
              <a:rPr lang="en-US" altLang="ko-KR" sz="3600" b="1" dirty="0">
                <a:solidFill>
                  <a:srgbClr val="C60751"/>
                </a:solidFill>
                <a:latin typeface="Arial" panose="020B0604020202020204" pitchFamily="34" charset="0"/>
                <a:cs typeface="Arial" panose="020B0604020202020204" pitchFamily="34" charset="0"/>
              </a:rPr>
              <a:t>VS</a:t>
            </a:r>
            <a:endParaRPr lang="ko-KR" altLang="en-US" sz="3600" b="1" dirty="0">
              <a:solidFill>
                <a:srgbClr val="C60751"/>
              </a:solidFill>
              <a:latin typeface="Arial" panose="020B0604020202020204" pitchFamily="34" charset="0"/>
              <a:cs typeface="Arial" panose="020B0604020202020204" pitchFamily="34" charset="0"/>
            </a:endParaRPr>
          </a:p>
        </p:txBody>
      </p:sp>
      <p:sp>
        <p:nvSpPr>
          <p:cNvPr id="147" name="오른쪽 화살표 146"/>
          <p:cNvSpPr/>
          <p:nvPr/>
        </p:nvSpPr>
        <p:spPr>
          <a:xfrm>
            <a:off x="3851521" y="3660152"/>
            <a:ext cx="369876" cy="178637"/>
          </a:xfrm>
          <a:prstGeom prst="rightArrow">
            <a:avLst/>
          </a:prstGeom>
          <a:gradFill>
            <a:gsLst>
              <a:gs pos="0">
                <a:srgbClr val="00B0F0">
                  <a:alpha val="0"/>
                </a:srgbClr>
              </a:gs>
              <a:gs pos="45000">
                <a:srgbClr val="00B0F0"/>
              </a:gs>
              <a:gs pos="20000">
                <a:srgbClr val="00B0F0"/>
              </a:gs>
              <a:gs pos="100000">
                <a:srgbClr val="DEFBF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48" name="오른쪽 화살표 147"/>
          <p:cNvSpPr/>
          <p:nvPr/>
        </p:nvSpPr>
        <p:spPr>
          <a:xfrm flipH="1">
            <a:off x="3860313" y="3495989"/>
            <a:ext cx="369876" cy="178637"/>
          </a:xfrm>
          <a:prstGeom prst="rightArrow">
            <a:avLst/>
          </a:prstGeom>
          <a:gradFill>
            <a:gsLst>
              <a:gs pos="0">
                <a:srgbClr val="A50034">
                  <a:alpha val="0"/>
                </a:srgbClr>
              </a:gs>
              <a:gs pos="45000">
                <a:srgbClr val="A50034"/>
              </a:gs>
              <a:gs pos="20000">
                <a:srgbClr val="A50034"/>
              </a:gs>
              <a:gs pos="100000">
                <a:srgbClr val="FEDEE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49" name="그룹 148"/>
          <p:cNvGrpSpPr/>
          <p:nvPr/>
        </p:nvGrpSpPr>
        <p:grpSpPr>
          <a:xfrm>
            <a:off x="900060" y="3284982"/>
            <a:ext cx="2351140" cy="960829"/>
            <a:chOff x="1101189" y="3343880"/>
            <a:chExt cx="2026284" cy="828071"/>
          </a:xfrm>
        </p:grpSpPr>
        <p:pic>
          <p:nvPicPr>
            <p:cNvPr id="150" name="그림 14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flipH="1">
              <a:off x="1101189" y="3343881"/>
              <a:ext cx="1978167" cy="828070"/>
            </a:xfrm>
            <a:prstGeom prst="rect">
              <a:avLst/>
            </a:prstGeom>
            <a:effectLst>
              <a:outerShdw blurRad="63500" algn="ctr" rotWithShape="0">
                <a:prstClr val="black">
                  <a:alpha val="40000"/>
                </a:prstClr>
              </a:outerShdw>
            </a:effectLst>
          </p:spPr>
        </p:pic>
        <p:pic>
          <p:nvPicPr>
            <p:cNvPr id="151" name="그림 15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49306" y="3343880"/>
              <a:ext cx="1978167" cy="828070"/>
            </a:xfrm>
            <a:prstGeom prst="rect">
              <a:avLst/>
            </a:prstGeom>
            <a:effectLst>
              <a:outerShdw blurRad="63500" algn="ctr" rotWithShape="0">
                <a:prstClr val="black">
                  <a:alpha val="40000"/>
                </a:prstClr>
              </a:outerShdw>
            </a:effectLst>
          </p:spPr>
        </p:pic>
      </p:grpSp>
      <p:grpSp>
        <p:nvGrpSpPr>
          <p:cNvPr id="152" name="그룹 151"/>
          <p:cNvGrpSpPr/>
          <p:nvPr/>
        </p:nvGrpSpPr>
        <p:grpSpPr>
          <a:xfrm rot="20837386">
            <a:off x="1468347" y="3232160"/>
            <a:ext cx="1228757" cy="976271"/>
            <a:chOff x="938213" y="3250448"/>
            <a:chExt cx="1228757" cy="976271"/>
          </a:xfrm>
        </p:grpSpPr>
        <p:sp>
          <p:nvSpPr>
            <p:cNvPr id="153" name="자유형 152"/>
            <p:cNvSpPr/>
            <p:nvPr/>
          </p:nvSpPr>
          <p:spPr>
            <a:xfrm>
              <a:off x="938213" y="3662362"/>
              <a:ext cx="619125" cy="564357"/>
            </a:xfrm>
            <a:custGeom>
              <a:avLst/>
              <a:gdLst>
                <a:gd name="connsiteX0" fmla="*/ 0 w 619125"/>
                <a:gd name="connsiteY0" fmla="*/ 0 h 564357"/>
                <a:gd name="connsiteX1" fmla="*/ 283368 w 619125"/>
                <a:gd name="connsiteY1" fmla="*/ 61913 h 564357"/>
                <a:gd name="connsiteX2" fmla="*/ 619125 w 619125"/>
                <a:gd name="connsiteY2" fmla="*/ 564357 h 564357"/>
                <a:gd name="connsiteX3" fmla="*/ 345281 w 619125"/>
                <a:gd name="connsiteY3" fmla="*/ 509588 h 564357"/>
                <a:gd name="connsiteX4" fmla="*/ 0 w 619125"/>
                <a:gd name="connsiteY4" fmla="*/ 0 h 564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5" h="564357">
                  <a:moveTo>
                    <a:pt x="0" y="0"/>
                  </a:moveTo>
                  <a:lnTo>
                    <a:pt x="283368" y="61913"/>
                  </a:lnTo>
                  <a:lnTo>
                    <a:pt x="619125" y="564357"/>
                  </a:lnTo>
                  <a:lnTo>
                    <a:pt x="345281" y="509588"/>
                  </a:lnTo>
                  <a:lnTo>
                    <a:pt x="0" y="0"/>
                  </a:lnTo>
                  <a:close/>
                </a:path>
              </a:pathLst>
            </a:custGeom>
            <a:solidFill>
              <a:schemeClr val="bg1">
                <a:lumMod val="50000"/>
                <a:alpha val="3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54" name="그룹 153"/>
            <p:cNvGrpSpPr/>
            <p:nvPr/>
          </p:nvGrpSpPr>
          <p:grpSpPr>
            <a:xfrm>
              <a:off x="1200396" y="3250448"/>
              <a:ext cx="802609" cy="837488"/>
              <a:chOff x="3502423" y="3013470"/>
              <a:chExt cx="1184692" cy="1236175"/>
            </a:xfrm>
          </p:grpSpPr>
          <p:sp>
            <p:nvSpPr>
              <p:cNvPr id="156" name="정육면체 155"/>
              <p:cNvSpPr/>
              <p:nvPr/>
            </p:nvSpPr>
            <p:spPr>
              <a:xfrm rot="3390784">
                <a:off x="3495688" y="3058218"/>
                <a:ext cx="1198162" cy="1184692"/>
              </a:xfrm>
              <a:prstGeom prst="cub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nvGrpSpPr>
              <p:cNvPr id="157" name="그룹 156"/>
              <p:cNvGrpSpPr/>
              <p:nvPr/>
            </p:nvGrpSpPr>
            <p:grpSpPr>
              <a:xfrm>
                <a:off x="3531185" y="3013470"/>
                <a:ext cx="718256" cy="1196580"/>
                <a:chOff x="3498483" y="3001564"/>
                <a:chExt cx="741434" cy="1235193"/>
              </a:xfrm>
            </p:grpSpPr>
            <p:sp>
              <p:nvSpPr>
                <p:cNvPr id="158" name="직사각형 157"/>
                <p:cNvSpPr/>
                <p:nvPr/>
              </p:nvSpPr>
              <p:spPr>
                <a:xfrm rot="3408988">
                  <a:off x="3765954" y="3355600"/>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59" name="직사각형 158"/>
                <p:cNvSpPr/>
                <p:nvPr/>
              </p:nvSpPr>
              <p:spPr>
                <a:xfrm rot="3408988">
                  <a:off x="3661179" y="3422274"/>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0" name="직사각형 159"/>
                <p:cNvSpPr/>
                <p:nvPr/>
              </p:nvSpPr>
              <p:spPr>
                <a:xfrm rot="3408988">
                  <a:off x="3558785" y="3491331"/>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1" name="직사각형 160"/>
                <p:cNvSpPr/>
                <p:nvPr/>
              </p:nvSpPr>
              <p:spPr>
                <a:xfrm rot="3408988">
                  <a:off x="3454010" y="3558005"/>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2" name="직사각형 161"/>
                <p:cNvSpPr/>
                <p:nvPr/>
              </p:nvSpPr>
              <p:spPr>
                <a:xfrm rot="3408988">
                  <a:off x="3351616" y="3627062"/>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3" name="직사각형 162"/>
                <p:cNvSpPr/>
                <p:nvPr/>
              </p:nvSpPr>
              <p:spPr>
                <a:xfrm rot="3408988">
                  <a:off x="3246841" y="3693736"/>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64" name="직사각형 163"/>
                <p:cNvSpPr/>
                <p:nvPr/>
              </p:nvSpPr>
              <p:spPr>
                <a:xfrm rot="3408988">
                  <a:off x="3144447" y="3762793"/>
                  <a:ext cx="828000" cy="119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sp>
          <p:nvSpPr>
            <p:cNvPr id="155" name="자유형 154"/>
            <p:cNvSpPr/>
            <p:nvPr/>
          </p:nvSpPr>
          <p:spPr>
            <a:xfrm>
              <a:off x="1383539" y="3815501"/>
              <a:ext cx="783431" cy="392906"/>
            </a:xfrm>
            <a:custGeom>
              <a:avLst/>
              <a:gdLst>
                <a:gd name="connsiteX0" fmla="*/ 500062 w 783431"/>
                <a:gd name="connsiteY0" fmla="*/ 0 h 392906"/>
                <a:gd name="connsiteX1" fmla="*/ 783431 w 783431"/>
                <a:gd name="connsiteY1" fmla="*/ 59531 h 392906"/>
                <a:gd name="connsiteX2" fmla="*/ 280987 w 783431"/>
                <a:gd name="connsiteY2" fmla="*/ 392906 h 392906"/>
                <a:gd name="connsiteX3" fmla="*/ 0 w 783431"/>
                <a:gd name="connsiteY3" fmla="*/ 333375 h 392906"/>
                <a:gd name="connsiteX4" fmla="*/ 500062 w 783431"/>
                <a:gd name="connsiteY4" fmla="*/ 0 h 3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431" h="392906">
                  <a:moveTo>
                    <a:pt x="500062" y="0"/>
                  </a:moveTo>
                  <a:lnTo>
                    <a:pt x="783431" y="59531"/>
                  </a:lnTo>
                  <a:lnTo>
                    <a:pt x="280987" y="392906"/>
                  </a:lnTo>
                  <a:lnTo>
                    <a:pt x="0" y="333375"/>
                  </a:lnTo>
                  <a:lnTo>
                    <a:pt x="500062" y="0"/>
                  </a:lnTo>
                  <a:close/>
                </a:path>
              </a:pathLst>
            </a:custGeom>
            <a:solidFill>
              <a:schemeClr val="bg1">
                <a:lumMod val="50000"/>
                <a:alpha val="3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grpSp>
      <p:grpSp>
        <p:nvGrpSpPr>
          <p:cNvPr id="165" name="그룹 8"/>
          <p:cNvGrpSpPr/>
          <p:nvPr/>
        </p:nvGrpSpPr>
        <p:grpSpPr>
          <a:xfrm>
            <a:off x="818667" y="3849856"/>
            <a:ext cx="799377" cy="313263"/>
            <a:chOff x="9416035" y="3592460"/>
            <a:chExt cx="486407" cy="192962"/>
          </a:xfrm>
        </p:grpSpPr>
        <p:pic>
          <p:nvPicPr>
            <p:cNvPr id="166" name="그림 165"/>
            <p:cNvPicPr>
              <a:picLocks noChangeAspect="1"/>
            </p:cNvPicPr>
            <p:nvPr/>
          </p:nvPicPr>
          <p:blipFill>
            <a:blip r:embed="rId11"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9619281" y="3698745"/>
              <a:ext cx="86677" cy="86677"/>
            </a:xfrm>
            <a:prstGeom prst="rect">
              <a:avLst/>
            </a:prstGeom>
          </p:spPr>
        </p:pic>
        <p:pic>
          <p:nvPicPr>
            <p:cNvPr id="167" name="그림 166"/>
            <p:cNvPicPr>
              <a:picLocks noChangeAspect="1"/>
            </p:cNvPicPr>
            <p:nvPr/>
          </p:nvPicPr>
          <p:blipFill>
            <a:blip r:embed="rId12" cstate="email">
              <a:clrChange>
                <a:clrFrom>
                  <a:srgbClr val="010101"/>
                </a:clrFrom>
                <a:clrTo>
                  <a:srgbClr val="010101">
                    <a:alpha val="0"/>
                  </a:srgbClr>
                </a:clrTo>
              </a:clrChange>
              <a:duotone>
                <a:prstClr val="black"/>
                <a:srgbClr val="D9C3A5">
                  <a:tint val="50000"/>
                  <a:satMod val="180000"/>
                </a:srgbClr>
              </a:duotone>
              <a:extLst>
                <a:ext uri="{BEBA8EAE-BF5A-486C-A8C5-ECC9F3942E4B}">
                  <a14:imgProps xmlns:a14="http://schemas.microsoft.com/office/drawing/2010/main">
                    <a14:imgLayer r:embed="rId13">
                      <a14:imgEffect>
                        <a14:saturation sat="33000"/>
                      </a14:imgEffect>
                    </a14:imgLayer>
                  </a14:imgProps>
                </a:ext>
                <a:ext uri="{28A0092B-C50C-407E-A947-70E740481C1C}">
                  <a14:useLocalDpi xmlns:a14="http://schemas.microsoft.com/office/drawing/2010/main"/>
                </a:ext>
              </a:extLst>
            </a:blip>
            <a:stretch>
              <a:fillRect/>
            </a:stretch>
          </p:blipFill>
          <p:spPr>
            <a:xfrm>
              <a:off x="9578514" y="3592460"/>
              <a:ext cx="75130" cy="75130"/>
            </a:xfrm>
            <a:prstGeom prst="rect">
              <a:avLst/>
            </a:prstGeom>
          </p:spPr>
        </p:pic>
        <p:pic>
          <p:nvPicPr>
            <p:cNvPr id="168" name="그림 167"/>
            <p:cNvPicPr>
              <a:picLocks noChangeAspect="1"/>
            </p:cNvPicPr>
            <p:nvPr/>
          </p:nvPicPr>
          <p:blipFill>
            <a:blip r:embed="rId14"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9416035" y="3599658"/>
              <a:ext cx="45720" cy="45720"/>
            </a:xfrm>
            <a:prstGeom prst="rect">
              <a:avLst/>
            </a:prstGeom>
          </p:spPr>
        </p:pic>
        <p:pic>
          <p:nvPicPr>
            <p:cNvPr id="169" name="그림 168"/>
            <p:cNvPicPr>
              <a:picLocks noChangeAspect="1"/>
            </p:cNvPicPr>
            <p:nvPr/>
          </p:nvPicPr>
          <p:blipFill>
            <a:blip r:embed="rId14"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9856722" y="3735234"/>
              <a:ext cx="45720" cy="45720"/>
            </a:xfrm>
            <a:prstGeom prst="rect">
              <a:avLst/>
            </a:prstGeom>
          </p:spPr>
        </p:pic>
      </p:grpSp>
      <p:pic>
        <p:nvPicPr>
          <p:cNvPr id="170" name="그림 169"/>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rot="1171290">
            <a:off x="2569949" y="3251787"/>
            <a:ext cx="802933" cy="554066"/>
          </a:xfrm>
          <a:prstGeom prst="rect">
            <a:avLst/>
          </a:prstGeom>
        </p:spPr>
      </p:pic>
      <p:sp>
        <p:nvSpPr>
          <p:cNvPr id="171" name="타원 170"/>
          <p:cNvSpPr/>
          <p:nvPr/>
        </p:nvSpPr>
        <p:spPr>
          <a:xfrm>
            <a:off x="2879626" y="3630120"/>
            <a:ext cx="216495" cy="216495"/>
          </a:xfrm>
          <a:prstGeom prst="ellipse">
            <a:avLst/>
          </a:prstGeom>
          <a:gradFill flip="none" rotWithShape="1">
            <a:gsLst>
              <a:gs pos="0">
                <a:schemeClr val="bg1">
                  <a:alpha val="0"/>
                </a:schemeClr>
              </a:gs>
              <a:gs pos="86000">
                <a:schemeClr val="bg1"/>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72" name="타원 171"/>
          <p:cNvSpPr/>
          <p:nvPr/>
        </p:nvSpPr>
        <p:spPr>
          <a:xfrm>
            <a:off x="3143250" y="3401520"/>
            <a:ext cx="238621" cy="238621"/>
          </a:xfrm>
          <a:prstGeom prst="ellipse">
            <a:avLst/>
          </a:prstGeom>
          <a:gradFill flip="none" rotWithShape="1">
            <a:gsLst>
              <a:gs pos="0">
                <a:schemeClr val="bg1">
                  <a:alpha val="0"/>
                </a:schemeClr>
              </a:gs>
              <a:gs pos="86000">
                <a:schemeClr val="bg1"/>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sp>
        <p:nvSpPr>
          <p:cNvPr id="173" name="타원 172"/>
          <p:cNvSpPr/>
          <p:nvPr/>
        </p:nvSpPr>
        <p:spPr>
          <a:xfrm>
            <a:off x="2775245" y="3143082"/>
            <a:ext cx="168771" cy="168771"/>
          </a:xfrm>
          <a:prstGeom prst="ellipse">
            <a:avLst/>
          </a:prstGeom>
          <a:gradFill flip="none" rotWithShape="1">
            <a:gsLst>
              <a:gs pos="0">
                <a:schemeClr val="bg1">
                  <a:alpha val="0"/>
                </a:schemeClr>
              </a:gs>
              <a:gs pos="86000">
                <a:schemeClr val="bg1"/>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anose="020B0604020202020204" pitchFamily="34" charset="0"/>
              <a:cs typeface="Arial" panose="020B0604020202020204" pitchFamily="34" charset="0"/>
            </a:endParaRPr>
          </a:p>
        </p:txBody>
      </p:sp>
      <p:pic>
        <p:nvPicPr>
          <p:cNvPr id="174" name="그림 173"/>
          <p:cNvPicPr>
            <a:picLocks noChangeAspect="1"/>
          </p:cNvPicPr>
          <p:nvPr/>
        </p:nvPicPr>
        <p:blipFill>
          <a:blip r:embed="rId16"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7394612" y="3270902"/>
            <a:ext cx="87011" cy="70912"/>
          </a:xfrm>
          <a:prstGeom prst="rect">
            <a:avLst/>
          </a:prstGeom>
        </p:spPr>
      </p:pic>
      <p:pic>
        <p:nvPicPr>
          <p:cNvPr id="175" name="그림 174"/>
          <p:cNvPicPr>
            <a:picLocks noChangeAspect="1"/>
          </p:cNvPicPr>
          <p:nvPr/>
        </p:nvPicPr>
        <p:blipFill>
          <a:blip r:embed="rId17">
            <a:extLst>
              <a:ext uri="{28A0092B-C50C-407E-A947-70E740481C1C}">
                <a14:useLocalDpi xmlns:a14="http://schemas.microsoft.com/office/drawing/2010/main"/>
              </a:ext>
            </a:extLst>
          </a:blip>
          <a:stretch>
            <a:fillRect/>
          </a:stretch>
        </p:blipFill>
        <p:spPr>
          <a:xfrm rot="5400000">
            <a:off x="7574368" y="3453044"/>
            <a:ext cx="535776" cy="1063752"/>
          </a:xfrm>
          <a:prstGeom prst="rect">
            <a:avLst/>
          </a:prstGeom>
        </p:spPr>
      </p:pic>
      <p:pic>
        <p:nvPicPr>
          <p:cNvPr id="176" name="그림 175"/>
          <p:cNvPicPr>
            <a:picLocks noChangeAspect="1"/>
          </p:cNvPicPr>
          <p:nvPr/>
        </p:nvPicPr>
        <p:blipFill>
          <a:blip r:embed="rId18">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7530376" y="3350587"/>
            <a:ext cx="130520" cy="106372"/>
          </a:xfrm>
          <a:prstGeom prst="rect">
            <a:avLst/>
          </a:prstGeom>
        </p:spPr>
      </p:pic>
      <p:pic>
        <p:nvPicPr>
          <p:cNvPr id="177" name="그림 176"/>
          <p:cNvPicPr>
            <a:picLocks noChangeAspect="1"/>
          </p:cNvPicPr>
          <p:nvPr/>
        </p:nvPicPr>
        <p:blipFill>
          <a:blip r:embed="rId19">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7162980" y="3490484"/>
            <a:ext cx="188694" cy="153782"/>
          </a:xfrm>
          <a:prstGeom prst="rect">
            <a:avLst/>
          </a:prstGeom>
        </p:spPr>
      </p:pic>
      <p:pic>
        <p:nvPicPr>
          <p:cNvPr id="178" name="그림 177"/>
          <p:cNvPicPr>
            <a:picLocks noChangeAspect="1"/>
          </p:cNvPicPr>
          <p:nvPr/>
        </p:nvPicPr>
        <p:blipFill>
          <a:blip r:embed="rId20"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7382667" y="3387379"/>
            <a:ext cx="90613" cy="73848"/>
          </a:xfrm>
          <a:prstGeom prst="rect">
            <a:avLst/>
          </a:prstGeom>
        </p:spPr>
      </p:pic>
      <p:pic>
        <p:nvPicPr>
          <p:cNvPr id="179" name="그림 178"/>
          <p:cNvPicPr>
            <a:picLocks noChangeAspect="1"/>
          </p:cNvPicPr>
          <p:nvPr/>
        </p:nvPicPr>
        <p:blipFill>
          <a:blip r:embed="rId21">
            <a:extLst>
              <a:ext uri="{28A0092B-C50C-407E-A947-70E740481C1C}">
                <a14:useLocalDpi xmlns:a14="http://schemas.microsoft.com/office/drawing/2010/main"/>
              </a:ext>
            </a:extLst>
          </a:blip>
          <a:stretch>
            <a:fillRect/>
          </a:stretch>
        </p:blipFill>
        <p:spPr>
          <a:xfrm rot="16200000" flipH="1">
            <a:off x="7854126" y="2958404"/>
            <a:ext cx="522996" cy="1092394"/>
          </a:xfrm>
          <a:prstGeom prst="rect">
            <a:avLst/>
          </a:prstGeom>
        </p:spPr>
      </p:pic>
      <p:pic>
        <p:nvPicPr>
          <p:cNvPr id="180" name="그림 179"/>
          <p:cNvPicPr>
            <a:picLocks noChangeAspect="1"/>
          </p:cNvPicPr>
          <p:nvPr/>
        </p:nvPicPr>
        <p:blipFill>
          <a:blip r:embed="rId22">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8507797" y="3298475"/>
            <a:ext cx="247582" cy="201773"/>
          </a:xfrm>
          <a:prstGeom prst="rect">
            <a:avLst/>
          </a:prstGeom>
        </p:spPr>
      </p:pic>
      <p:pic>
        <p:nvPicPr>
          <p:cNvPr id="181" name="그림 180"/>
          <p:cNvPicPr>
            <a:picLocks noChangeAspect="1"/>
          </p:cNvPicPr>
          <p:nvPr/>
        </p:nvPicPr>
        <p:blipFill>
          <a:blip r:embed="rId23">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8783807" y="3624393"/>
            <a:ext cx="203803" cy="166094"/>
          </a:xfrm>
          <a:prstGeom prst="rect">
            <a:avLst/>
          </a:prstGeom>
        </p:spPr>
      </p:pic>
      <p:pic>
        <p:nvPicPr>
          <p:cNvPr id="182" name="그림 181"/>
          <p:cNvPicPr>
            <a:picLocks noChangeAspect="1"/>
          </p:cNvPicPr>
          <p:nvPr/>
        </p:nvPicPr>
        <p:blipFill>
          <a:blip r:embed="rId16"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8357974" y="3578318"/>
            <a:ext cx="87011" cy="70912"/>
          </a:xfrm>
          <a:prstGeom prst="rect">
            <a:avLst/>
          </a:prstGeom>
        </p:spPr>
      </p:pic>
      <p:pic>
        <p:nvPicPr>
          <p:cNvPr id="183" name="그림 182"/>
          <p:cNvPicPr>
            <a:picLocks noChangeAspect="1"/>
          </p:cNvPicPr>
          <p:nvPr/>
        </p:nvPicPr>
        <p:blipFill>
          <a:blip r:embed="rId16"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7670345" y="3443816"/>
            <a:ext cx="87011" cy="70912"/>
          </a:xfrm>
          <a:prstGeom prst="rect">
            <a:avLst/>
          </a:prstGeom>
        </p:spPr>
      </p:pic>
      <p:pic>
        <p:nvPicPr>
          <p:cNvPr id="184" name="그림 183"/>
          <p:cNvPicPr>
            <a:picLocks noChangeAspect="1"/>
          </p:cNvPicPr>
          <p:nvPr/>
        </p:nvPicPr>
        <p:blipFill>
          <a:blip r:embed="rId24"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8928702" y="3229132"/>
            <a:ext cx="125617" cy="102375"/>
          </a:xfrm>
          <a:prstGeom prst="rect">
            <a:avLst/>
          </a:prstGeom>
        </p:spPr>
      </p:pic>
      <p:pic>
        <p:nvPicPr>
          <p:cNvPr id="185" name="그림 184"/>
          <p:cNvPicPr>
            <a:picLocks noChangeAspect="1"/>
          </p:cNvPicPr>
          <p:nvPr/>
        </p:nvPicPr>
        <p:blipFill>
          <a:blip r:embed="rId25" cstate="email">
            <a:clrChange>
              <a:clrFrom>
                <a:srgbClr val="010101"/>
              </a:clrFrom>
              <a:clrTo>
                <a:srgbClr val="010101">
                  <a:alpha val="0"/>
                </a:srgbClr>
              </a:clrTo>
            </a:clrChange>
            <a:duotone>
              <a:prstClr val="black"/>
              <a:srgbClr val="D9C3A5">
                <a:tint val="50000"/>
                <a:satMod val="180000"/>
              </a:srgbClr>
            </a:duotone>
            <a:extLst>
              <a:ext uri="{BEBA8EAE-BF5A-486C-A8C5-ECC9F3942E4B}">
                <a14:imgProps xmlns:a14="http://schemas.microsoft.com/office/drawing/2010/main">
                  <a14:imgLayer r:embed="rId26">
                    <a14:imgEffect>
                      <a14:saturation sat="33000"/>
                    </a14:imgEffect>
                  </a14:imgLayer>
                </a14:imgProps>
              </a:ext>
              <a:ext uri="{28A0092B-C50C-407E-A947-70E740481C1C}">
                <a14:useLocalDpi xmlns:a14="http://schemas.microsoft.com/office/drawing/2010/main"/>
              </a:ext>
            </a:extLst>
          </a:blip>
          <a:stretch>
            <a:fillRect/>
          </a:stretch>
        </p:blipFill>
        <p:spPr>
          <a:xfrm>
            <a:off x="7396880" y="3537311"/>
            <a:ext cx="148902" cy="121352"/>
          </a:xfrm>
          <a:prstGeom prst="rect">
            <a:avLst/>
          </a:prstGeom>
        </p:spPr>
      </p:pic>
      <p:pic>
        <p:nvPicPr>
          <p:cNvPr id="186" name="그림 185"/>
          <p:cNvPicPr>
            <a:picLocks noChangeAspect="1"/>
          </p:cNvPicPr>
          <p:nvPr/>
        </p:nvPicPr>
        <p:blipFill>
          <a:blip r:embed="rId27" cstate="email">
            <a:clrChange>
              <a:clrFrom>
                <a:srgbClr val="010101"/>
              </a:clrFrom>
              <a:clrTo>
                <a:srgbClr val="010101">
                  <a:alpha val="0"/>
                </a:srgbClr>
              </a:clrTo>
            </a:clrChange>
            <a:duotone>
              <a:prstClr val="black"/>
              <a:srgbClr val="D9C3A5">
                <a:tint val="50000"/>
                <a:satMod val="180000"/>
              </a:srgbClr>
            </a:duotone>
            <a:extLst>
              <a:ext uri="{BEBA8EAE-BF5A-486C-A8C5-ECC9F3942E4B}">
                <a14:imgProps xmlns:a14="http://schemas.microsoft.com/office/drawing/2010/main">
                  <a14:imgLayer r:embed="rId28">
                    <a14:imgEffect>
                      <a14:saturation sat="33000"/>
                    </a14:imgEffect>
                  </a14:imgLayer>
                </a14:imgProps>
              </a:ext>
              <a:ext uri="{28A0092B-C50C-407E-A947-70E740481C1C}">
                <a14:useLocalDpi xmlns:a14="http://schemas.microsoft.com/office/drawing/2010/main"/>
              </a:ext>
            </a:extLst>
          </a:blip>
          <a:stretch>
            <a:fillRect/>
          </a:stretch>
        </p:blipFill>
        <p:spPr>
          <a:xfrm rot="10800000">
            <a:off x="8008798" y="3432221"/>
            <a:ext cx="142981" cy="116527"/>
          </a:xfrm>
          <a:prstGeom prst="rect">
            <a:avLst/>
          </a:prstGeom>
        </p:spPr>
      </p:pic>
      <p:pic>
        <p:nvPicPr>
          <p:cNvPr id="187" name="그림 186"/>
          <p:cNvPicPr>
            <a:picLocks noChangeAspect="1"/>
          </p:cNvPicPr>
          <p:nvPr/>
        </p:nvPicPr>
        <p:blipFill>
          <a:blip r:embed="rId16"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10800000">
            <a:off x="9104734" y="3502118"/>
            <a:ext cx="87011" cy="70912"/>
          </a:xfrm>
          <a:prstGeom prst="rect">
            <a:avLst/>
          </a:prstGeom>
        </p:spPr>
      </p:pic>
      <p:pic>
        <p:nvPicPr>
          <p:cNvPr id="188" name="그림 187"/>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8547878" flipV="1">
            <a:off x="8288598" y="2688923"/>
            <a:ext cx="1172516" cy="1656585"/>
          </a:xfrm>
          <a:prstGeom prst="rect">
            <a:avLst/>
          </a:prstGeom>
        </p:spPr>
      </p:pic>
      <p:sp>
        <p:nvSpPr>
          <p:cNvPr id="189" name="TextBox 188"/>
          <p:cNvSpPr txBox="1"/>
          <p:nvPr/>
        </p:nvSpPr>
        <p:spPr>
          <a:xfrm>
            <a:off x="332487" y="5341404"/>
            <a:ext cx="3597064" cy="584775"/>
          </a:xfrm>
          <a:prstGeom prst="rect">
            <a:avLst/>
          </a:prstGeom>
          <a:noFill/>
        </p:spPr>
        <p:txBody>
          <a:bodyPr wrap="square" rtlCol="0">
            <a:spAutoFit/>
            <a:scene3d>
              <a:camera prst="orthographicFront"/>
              <a:lightRig rig="threePt" dir="t"/>
            </a:scene3d>
            <a:sp3d>
              <a:bevelT w="1270" h="1270"/>
            </a:sp3d>
          </a:bodyPr>
          <a:lstStyle/>
          <a:p>
            <a:pPr algn="ctr"/>
            <a:r>
              <a:rPr lang="en-US" altLang="ko-KR" sz="1400" b="1" spc="-100" dirty="0">
                <a:solidFill>
                  <a:prstClr val="black">
                    <a:lumMod val="50000"/>
                    <a:lumOff val="50000"/>
                  </a:prstClr>
                </a:solidFill>
                <a:latin typeface="Arial" panose="020B0604020202020204" pitchFamily="34" charset="0"/>
                <a:cs typeface="Arial" panose="020B0604020202020204" pitchFamily="34" charset="0"/>
              </a:rPr>
              <a:t> </a:t>
            </a:r>
            <a:r>
              <a:rPr lang="en-US" altLang="ko-KR" b="1" dirty="0">
                <a:gradFill>
                  <a:gsLst>
                    <a:gs pos="0">
                      <a:srgbClr val="00863D"/>
                    </a:gs>
                    <a:gs pos="100000">
                      <a:srgbClr val="43A420"/>
                    </a:gs>
                  </a:gsLst>
                  <a:lin ang="5400000" scaled="1"/>
                </a:gradFill>
                <a:latin typeface="Arial" panose="020B0604020202020204" pitchFamily="34" charset="0"/>
                <a:cs typeface="Arial" panose="020B0604020202020204" pitchFamily="34" charset="0"/>
              </a:rPr>
              <a:t>Comfort air </a:t>
            </a:r>
            <a:r>
              <a:rPr lang="en-US" altLang="ko-KR" b="1" dirty="0">
                <a:gradFill>
                  <a:gsLst>
                    <a:gs pos="0">
                      <a:srgbClr val="B00047"/>
                    </a:gs>
                    <a:gs pos="100000">
                      <a:srgbClr val="C0004E"/>
                    </a:gs>
                  </a:gsLst>
                  <a:lin ang="5400000" scaled="1"/>
                </a:gradFill>
                <a:latin typeface="Arial" panose="020B0604020202020204" pitchFamily="34" charset="0"/>
                <a:cs typeface="Arial" panose="020B0604020202020204" pitchFamily="34" charset="0"/>
              </a:rPr>
              <a:t>+ Energy saving </a:t>
            </a:r>
          </a:p>
          <a:p>
            <a:pPr algn="ctr"/>
            <a:r>
              <a:rPr lang="en-US" altLang="ko-KR" sz="1400" b="1" spc="-100" dirty="0">
                <a:solidFill>
                  <a:prstClr val="black">
                    <a:lumMod val="50000"/>
                    <a:lumOff val="50000"/>
                  </a:prstClr>
                </a:solidFill>
                <a:latin typeface="Arial" panose="020B0604020202020204" pitchFamily="34" charset="0"/>
                <a:cs typeface="Arial" panose="020B0604020202020204" pitchFamily="34" charset="0"/>
              </a:rPr>
              <a:t>Compared to natural ventilation</a:t>
            </a:r>
            <a:endParaRPr lang="ko-KR" altLang="en-US" sz="1400" b="1" spc="-1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190" name="Text Box 3"/>
          <p:cNvSpPr txBox="1">
            <a:spLocks noChangeArrowheads="1"/>
          </p:cNvSpPr>
          <p:nvPr/>
        </p:nvSpPr>
        <p:spPr bwMode="auto">
          <a:xfrm>
            <a:off x="278423" y="5926521"/>
            <a:ext cx="3729686" cy="276999"/>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r>
              <a:rPr lang="en-US" altLang="ko-KR" sz="1200" dirty="0">
                <a:solidFill>
                  <a:prstClr val="black">
                    <a:lumMod val="85000"/>
                    <a:lumOff val="15000"/>
                  </a:prstClr>
                </a:solidFill>
                <a:latin typeface="Arial" panose="020B0604020202020204" pitchFamily="34" charset="0"/>
                <a:cs typeface="Arial" panose="020B0604020202020204" pitchFamily="34" charset="0"/>
              </a:rPr>
              <a:t>Heat exchanger collects wasted energy while ventilating. </a:t>
            </a:r>
          </a:p>
        </p:txBody>
      </p:sp>
      <p:sp>
        <p:nvSpPr>
          <p:cNvPr id="191" name="Text Box 35"/>
          <p:cNvSpPr txBox="1">
            <a:spLocks noChangeArrowheads="1"/>
          </p:cNvSpPr>
          <p:nvPr/>
        </p:nvSpPr>
        <p:spPr bwMode="auto">
          <a:xfrm>
            <a:off x="2146843" y="3066846"/>
            <a:ext cx="836920"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dirty="0">
                <a:solidFill>
                  <a:srgbClr val="C60751"/>
                </a:solidFill>
                <a:latin typeface="Arial" panose="020B0604020202020204" pitchFamily="34" charset="0"/>
                <a:cs typeface="Arial" panose="020B0604020202020204" pitchFamily="34" charset="0"/>
              </a:rPr>
              <a:t>60°F</a:t>
            </a:r>
          </a:p>
        </p:txBody>
      </p:sp>
      <p:grpSp>
        <p:nvGrpSpPr>
          <p:cNvPr id="192" name="그룹 191"/>
          <p:cNvGrpSpPr/>
          <p:nvPr/>
        </p:nvGrpSpPr>
        <p:grpSpPr>
          <a:xfrm>
            <a:off x="5852440" y="2028883"/>
            <a:ext cx="1060426" cy="1112085"/>
            <a:chOff x="5595178" y="2929870"/>
            <a:chExt cx="1060426" cy="759248"/>
          </a:xfrm>
        </p:grpSpPr>
        <p:sp>
          <p:nvSpPr>
            <p:cNvPr id="193" name="Text Box 35"/>
            <p:cNvSpPr txBox="1">
              <a:spLocks noChangeArrowheads="1"/>
            </p:cNvSpPr>
            <p:nvPr/>
          </p:nvSpPr>
          <p:spPr bwMode="auto">
            <a:xfrm>
              <a:off x="5595178" y="2929870"/>
              <a:ext cx="1060426" cy="40974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Outdoor temp. (Winter)</a:t>
              </a:r>
            </a:p>
            <a:p>
              <a:r>
                <a:rPr lang="en-US" altLang="ko-KR" b="0" dirty="0">
                  <a:solidFill>
                    <a:srgbClr val="0070C0"/>
                  </a:solidFill>
                  <a:latin typeface="Arial" panose="020B0604020202020204" pitchFamily="34" charset="0"/>
                  <a:cs typeface="Arial" panose="020B0604020202020204" pitchFamily="34" charset="0"/>
                </a:rPr>
                <a:t>23°F</a:t>
              </a:r>
            </a:p>
          </p:txBody>
        </p:sp>
        <p:pic>
          <p:nvPicPr>
            <p:cNvPr id="194" name="그림 19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759" y="3341922"/>
              <a:ext cx="98372" cy="347196"/>
            </a:xfrm>
            <a:prstGeom prst="rect">
              <a:avLst/>
            </a:prstGeom>
          </p:spPr>
        </p:pic>
      </p:grpSp>
      <p:sp>
        <p:nvSpPr>
          <p:cNvPr id="195" name="Text Box 35"/>
          <p:cNvSpPr txBox="1">
            <a:spLocks noChangeArrowheads="1"/>
          </p:cNvSpPr>
          <p:nvPr/>
        </p:nvSpPr>
        <p:spPr bwMode="auto">
          <a:xfrm>
            <a:off x="8113573" y="2519318"/>
            <a:ext cx="684001"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85000"/>
                    <a:lumOff val="1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Outdoor</a:t>
            </a:r>
          </a:p>
        </p:txBody>
      </p:sp>
      <p:sp>
        <p:nvSpPr>
          <p:cNvPr id="196" name="Text Box 35"/>
          <p:cNvSpPr txBox="1">
            <a:spLocks noChangeArrowheads="1"/>
          </p:cNvSpPr>
          <p:nvPr/>
        </p:nvSpPr>
        <p:spPr bwMode="auto">
          <a:xfrm>
            <a:off x="7192819" y="2519318"/>
            <a:ext cx="684001"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Indoor </a:t>
            </a:r>
          </a:p>
        </p:txBody>
      </p:sp>
      <p:sp>
        <p:nvSpPr>
          <p:cNvPr id="197" name="Text Box 35"/>
          <p:cNvSpPr txBox="1">
            <a:spLocks noChangeArrowheads="1"/>
          </p:cNvSpPr>
          <p:nvPr/>
        </p:nvSpPr>
        <p:spPr bwMode="auto">
          <a:xfrm>
            <a:off x="6885269" y="4365104"/>
            <a:ext cx="991802" cy="43088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pPr defTabSz="914321"/>
            <a:r>
              <a:rPr lang="en-US" altLang="ko-KR" b="0" dirty="0">
                <a:solidFill>
                  <a:prstClr val="black">
                    <a:lumMod val="65000"/>
                    <a:lumOff val="35000"/>
                  </a:prstClr>
                </a:solidFill>
                <a:latin typeface="Arial" panose="020B0604020202020204" pitchFamily="34" charset="0"/>
                <a:cs typeface="Arial" panose="020B0604020202020204" pitchFamily="34" charset="0"/>
              </a:rPr>
              <a:t>Indoor temp.</a:t>
            </a:r>
          </a:p>
          <a:p>
            <a:r>
              <a:rPr lang="en-US" altLang="ko-KR" b="0" dirty="0">
                <a:solidFill>
                  <a:srgbClr val="C60751"/>
                </a:solidFill>
                <a:latin typeface="Arial" panose="020B0604020202020204" pitchFamily="34" charset="0"/>
                <a:cs typeface="Arial" panose="020B0604020202020204" pitchFamily="34" charset="0"/>
              </a:rPr>
              <a:t>72°F</a:t>
            </a:r>
          </a:p>
        </p:txBody>
      </p:sp>
      <p:sp>
        <p:nvSpPr>
          <p:cNvPr id="198" name="Text Box 35"/>
          <p:cNvSpPr txBox="1">
            <a:spLocks noChangeArrowheads="1"/>
          </p:cNvSpPr>
          <p:nvPr/>
        </p:nvSpPr>
        <p:spPr bwMode="auto">
          <a:xfrm>
            <a:off x="8109539" y="4369744"/>
            <a:ext cx="1064755" cy="430887"/>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b="0" dirty="0">
                <a:solidFill>
                  <a:prstClr val="black">
                    <a:lumMod val="65000"/>
                    <a:lumOff val="35000"/>
                  </a:prstClr>
                </a:solidFill>
                <a:latin typeface="Arial" panose="020B0604020202020204" pitchFamily="34" charset="0"/>
                <a:cs typeface="Arial" panose="020B0604020202020204" pitchFamily="34" charset="0"/>
              </a:rPr>
              <a:t>Outdoor temp.</a:t>
            </a:r>
          </a:p>
          <a:p>
            <a:r>
              <a:rPr lang="en-US" altLang="ko-KR" b="0" dirty="0">
                <a:solidFill>
                  <a:srgbClr val="0070C0"/>
                </a:solidFill>
                <a:latin typeface="Arial" panose="020B0604020202020204" pitchFamily="34" charset="0"/>
                <a:cs typeface="Arial" panose="020B0604020202020204" pitchFamily="34" charset="0"/>
              </a:rPr>
              <a:t>23°F</a:t>
            </a:r>
          </a:p>
        </p:txBody>
      </p:sp>
      <p:cxnSp>
        <p:nvCxnSpPr>
          <p:cNvPr id="199" name="직선 연결선 198"/>
          <p:cNvCxnSpPr>
            <a:endCxn id="63" idx="2"/>
          </p:cNvCxnSpPr>
          <p:nvPr/>
        </p:nvCxnSpPr>
        <p:spPr>
          <a:xfrm flipH="1">
            <a:off x="4953000" y="1379632"/>
            <a:ext cx="5733" cy="5472989"/>
          </a:xfrm>
          <a:prstGeom prst="line">
            <a:avLst/>
          </a:prstGeom>
          <a:ln>
            <a:gradFill>
              <a:gsLst>
                <a:gs pos="0">
                  <a:schemeClr val="bg1">
                    <a:lumMod val="65000"/>
                    <a:alpha val="35000"/>
                  </a:schemeClr>
                </a:gs>
                <a:gs pos="100000">
                  <a:schemeClr val="bg1">
                    <a:lumMod val="65000"/>
                    <a:alpha val="26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0" name="Text Box 35"/>
          <p:cNvSpPr txBox="1">
            <a:spLocks noChangeArrowheads="1"/>
          </p:cNvSpPr>
          <p:nvPr/>
        </p:nvSpPr>
        <p:spPr bwMode="auto">
          <a:xfrm>
            <a:off x="7084563" y="3095382"/>
            <a:ext cx="1064755" cy="261610"/>
          </a:xfrm>
          <a:prstGeom prst="rect">
            <a:avLst/>
          </a:prstGeom>
        </p:spPr>
        <p:txBody>
          <a:bodyPr wrap="square">
            <a:spAutoFit/>
            <a:scene3d>
              <a:camera prst="orthographicFront"/>
              <a:lightRig rig="threePt" dir="t"/>
            </a:scene3d>
            <a:sp3d extrusionH="50800">
              <a:bevelT w="1270" h="1270"/>
            </a:sp3d>
          </a:bodyPr>
          <a:lstStyle>
            <a:defPPr>
              <a:defRPr lang="ko-KR"/>
            </a:defPPr>
            <a:lvl1pPr algn="ctr" fontAlgn="base">
              <a:spcBef>
                <a:spcPct val="0"/>
              </a:spcBef>
              <a:defRPr kumimoji="1" sz="1100" b="1" spc="-80">
                <a:solidFill>
                  <a:schemeClr val="tx1">
                    <a:lumMod val="65000"/>
                    <a:lumOff val="35000"/>
                  </a:schemeClr>
                </a:solidFill>
                <a:latin typeface="맑은 고딕" panose="020B0503020000020004" pitchFamily="50" charset="-127"/>
                <a:ea typeface="맑은 고딕" panose="020B0503020000020004" pitchFamily="50" charset="-127"/>
              </a:defRPr>
            </a:lvl1pPr>
          </a:lstStyle>
          <a:p>
            <a:r>
              <a:rPr lang="en-US" altLang="ko-KR" b="0" dirty="0">
                <a:solidFill>
                  <a:srgbClr val="0070C0"/>
                </a:solidFill>
                <a:latin typeface="Arial" panose="020B0604020202020204" pitchFamily="34" charset="0"/>
                <a:cs typeface="Arial" panose="020B0604020202020204" pitchFamily="34" charset="0"/>
              </a:rPr>
              <a:t>23°F</a:t>
            </a:r>
          </a:p>
        </p:txBody>
      </p:sp>
    </p:spTree>
    <p:extLst>
      <p:ext uri="{BB962C8B-B14F-4D97-AF65-F5344CB8AC3E}">
        <p14:creationId xmlns:p14="http://schemas.microsoft.com/office/powerpoint/2010/main" val="2029906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F3BE68B7-48B3-49EE-849E-56E364B381E6}"/>
              </a:ext>
            </a:extLst>
          </p:cNvPr>
          <p:cNvPicPr>
            <a:picLocks noChangeAspect="1"/>
          </p:cNvPicPr>
          <p:nvPr/>
        </p:nvPicPr>
        <p:blipFill>
          <a:blip r:embed="rId2" cstate="email">
            <a:alphaModFix amt="28000"/>
            <a:extLst>
              <a:ext uri="{28A0092B-C50C-407E-A947-70E740481C1C}">
                <a14:useLocalDpi xmlns:a14="http://schemas.microsoft.com/office/drawing/2010/main"/>
              </a:ext>
            </a:extLst>
          </a:blip>
          <a:srcRect/>
          <a:stretch/>
        </p:blipFill>
        <p:spPr>
          <a:xfrm>
            <a:off x="0" y="0"/>
            <a:ext cx="9906000" cy="6858000"/>
          </a:xfrm>
          <a:prstGeom prst="rect">
            <a:avLst/>
          </a:prstGeom>
        </p:spPr>
      </p:pic>
      <p:grpSp>
        <p:nvGrpSpPr>
          <p:cNvPr id="16" name="그룹 15">
            <a:extLst>
              <a:ext uri="{FF2B5EF4-FFF2-40B4-BE49-F238E27FC236}">
                <a16:creationId xmlns:a16="http://schemas.microsoft.com/office/drawing/2014/main" id="{A76AF85D-EB69-4D04-8B83-B05F630411D4}"/>
              </a:ext>
            </a:extLst>
          </p:cNvPr>
          <p:cNvGrpSpPr/>
          <p:nvPr/>
        </p:nvGrpSpPr>
        <p:grpSpPr>
          <a:xfrm>
            <a:off x="3142887" y="2586107"/>
            <a:ext cx="3620222" cy="821955"/>
            <a:chOff x="1260384" y="5312146"/>
            <a:chExt cx="3620222" cy="821955"/>
          </a:xfrm>
        </p:grpSpPr>
        <p:sp>
          <p:nvSpPr>
            <p:cNvPr id="8" name="TextBox 7">
              <a:extLst>
                <a:ext uri="{FF2B5EF4-FFF2-40B4-BE49-F238E27FC236}">
                  <a16:creationId xmlns:a16="http://schemas.microsoft.com/office/drawing/2014/main" id="{B136B945-D790-41EC-BAE4-E31E1F22B7B2}"/>
                </a:ext>
              </a:extLst>
            </p:cNvPr>
            <p:cNvSpPr txBox="1"/>
            <p:nvPr/>
          </p:nvSpPr>
          <p:spPr>
            <a:xfrm>
              <a:off x="1260384" y="5312146"/>
              <a:ext cx="3620222" cy="707886"/>
            </a:xfrm>
            <a:prstGeom prst="rect">
              <a:avLst/>
            </a:prstGeom>
            <a:noFill/>
          </p:spPr>
          <p:txBody>
            <a:bodyPr wrap="none" rtlCol="0" anchor="ctr">
              <a:spAutoFit/>
            </a:bodyPr>
            <a:lstStyle/>
            <a:p>
              <a:pPr algn="ctr"/>
              <a:r>
                <a:rPr lang="en-US" altLang="ko-KR" sz="4000" b="1" dirty="0">
                  <a:solidFill>
                    <a:srgbClr val="000000"/>
                  </a:solidFill>
                  <a:latin typeface="Arial" panose="020B0604020202020204" pitchFamily="34" charset="0"/>
                  <a:ea typeface="LG스마트체 SemiBold" panose="020B0600000101010101" pitchFamily="50" charset="-127"/>
                  <a:cs typeface="Arial" panose="020B0604020202020204" pitchFamily="34" charset="0"/>
                </a:rPr>
                <a:t>Why LG ERV?</a:t>
              </a:r>
            </a:p>
          </p:txBody>
        </p:sp>
        <p:sp>
          <p:nvSpPr>
            <p:cNvPr id="14" name="직사각형 13">
              <a:extLst>
                <a:ext uri="{FF2B5EF4-FFF2-40B4-BE49-F238E27FC236}">
                  <a16:creationId xmlns:a16="http://schemas.microsoft.com/office/drawing/2014/main" id="{E4C638DE-1FB0-4743-94E0-A1E2213F644F}"/>
                </a:ext>
              </a:extLst>
            </p:cNvPr>
            <p:cNvSpPr/>
            <p:nvPr/>
          </p:nvSpPr>
          <p:spPr>
            <a:xfrm rot="5400000">
              <a:off x="3038747" y="4734351"/>
              <a:ext cx="63500" cy="2736000"/>
            </a:xfrm>
            <a:prstGeom prst="rect">
              <a:avLst/>
            </a:prstGeom>
            <a:gradFill flip="none" rotWithShape="1">
              <a:gsLst>
                <a:gs pos="0">
                  <a:srgbClr val="F92763"/>
                </a:gs>
                <a:gs pos="100000">
                  <a:srgbClr val="C30037"/>
                </a:gs>
              </a:gsLst>
              <a:lin ang="5400000" scaled="0"/>
              <a:tileRect/>
            </a:gradFill>
            <a:ln w="12700" cap="flat" cmpd="sng" algn="ctr">
              <a:noFill/>
              <a:prstDash val="solid"/>
              <a:miter lim="800000"/>
            </a:ln>
            <a:effectLst/>
          </p:spPr>
          <p:txBody>
            <a:bodyPr rtlCol="0" anchor="ctr"/>
            <a:lstStyle/>
            <a:p>
              <a:pPr algn="ctr" defTabSz="914400"/>
              <a:endParaRPr lang="ko-KR" altLang="en-US" kern="0" dirty="0">
                <a:solidFill>
                  <a:prstClr val="white"/>
                </a:solidFill>
                <a:latin typeface="Arial" panose="020B0604020202020204" pitchFamily="34" charset="0"/>
                <a:ea typeface="LG스마트체 Light" panose="020B0600000101010101" pitchFamily="50" charset="-127"/>
                <a:cs typeface="Arial" panose="020B0604020202020204" pitchFamily="34" charset="0"/>
              </a:endParaRPr>
            </a:p>
          </p:txBody>
        </p:sp>
      </p:grpSp>
      <p:pic>
        <p:nvPicPr>
          <p:cNvPr id="7" name="Picture 6" descr="A picture containing electronics, white&#10;&#10;Description automatically generated">
            <a:extLst>
              <a:ext uri="{FF2B5EF4-FFF2-40B4-BE49-F238E27FC236}">
                <a16:creationId xmlns:a16="http://schemas.microsoft.com/office/drawing/2014/main" id="{5055E87F-8AF8-F71B-D8F4-80D0F1AD74E8}"/>
              </a:ext>
            </a:extLst>
          </p:cNvPr>
          <p:cNvPicPr>
            <a:picLocks noChangeAspect="1"/>
          </p:cNvPicPr>
          <p:nvPr/>
        </p:nvPicPr>
        <p:blipFill rotWithShape="1">
          <a:blip r:embed="rId3"/>
          <a:srcRect b="13060"/>
          <a:stretch/>
        </p:blipFill>
        <p:spPr>
          <a:xfrm>
            <a:off x="247119" y="122960"/>
            <a:ext cx="2132074" cy="1853622"/>
          </a:xfrm>
          <a:prstGeom prst="rect">
            <a:avLst/>
          </a:prstGeom>
        </p:spPr>
      </p:pic>
    </p:spTree>
    <p:extLst>
      <p:ext uri="{BB962C8B-B14F-4D97-AF65-F5344CB8AC3E}">
        <p14:creationId xmlns:p14="http://schemas.microsoft.com/office/powerpoint/2010/main" val="2998324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텍스트 개체 틀 1"/>
          <p:cNvSpPr>
            <a:spLocks noGrp="1"/>
          </p:cNvSpPr>
          <p:nvPr/>
        </p:nvSpPr>
        <p:spPr>
          <a:xfrm>
            <a:off x="280102" y="172459"/>
            <a:ext cx="5601544" cy="369332"/>
          </a:xfrm>
          <a:prstGeom prst="rect">
            <a:avLst/>
          </a:prstGeom>
        </p:spPr>
        <p:txBody>
          <a:bodyPr wrap="square" lIns="0" tIns="0" rIns="0" bIns="0">
            <a:spAutoFit/>
          </a:bodyPr>
          <a:lstStyle>
            <a:lvl1pPr marL="0" indent="0" algn="l" defTabSz="457200" rtl="0" eaLnBrk="1" latinLnBrk="0" hangingPunct="1">
              <a:spcBef>
                <a:spcPct val="20000"/>
              </a:spcBef>
              <a:buFontTx/>
              <a:buNone/>
              <a:defRPr sz="2400" b="1"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ko-KR" dirty="0"/>
              <a:t>Why LG ERV?</a:t>
            </a:r>
            <a:endParaRPr lang="ko-KR" altLang="en-US" dirty="0"/>
          </a:p>
        </p:txBody>
      </p:sp>
      <p:sp>
        <p:nvSpPr>
          <p:cNvPr id="224" name="텍스트 개체 틀 3"/>
          <p:cNvSpPr>
            <a:spLocks noGrp="1"/>
          </p:cNvSpPr>
          <p:nvPr/>
        </p:nvSpPr>
        <p:spPr>
          <a:xfrm>
            <a:off x="281781" y="756293"/>
            <a:ext cx="9342438" cy="738664"/>
          </a:xfrm>
          <a:prstGeom prst="rect">
            <a:avLst/>
          </a:prstGeom>
        </p:spPr>
        <p:txBody>
          <a:bodyPr lIns="0" tIns="0" rIns="0" bIns="0">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600" u="none"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ko-KR" dirty="0"/>
              <a:t>Supply and exhaust air flows are completely separated in the heat exchanger, allowing the LG Residential ERV to filter out impurities before supplying outdoor air to ensure indoor air is filtered and heated/cooled.</a:t>
            </a:r>
            <a:endParaRPr lang="ko-KR" altLang="en-US" dirty="0"/>
          </a:p>
        </p:txBody>
      </p:sp>
      <p:pic>
        <p:nvPicPr>
          <p:cNvPr id="230" name="그림 229"/>
          <p:cNvPicPr>
            <a:picLocks noChangeAspect="1"/>
          </p:cNvPicPr>
          <p:nvPr/>
        </p:nvPicPr>
        <p:blipFill rotWithShape="1">
          <a:blip r:embed="rId3"/>
          <a:srcRect l="8269" t="32714" r="52116" b="39370"/>
          <a:stretch/>
        </p:blipFill>
        <p:spPr>
          <a:xfrm>
            <a:off x="194957" y="2309883"/>
            <a:ext cx="9516085" cy="2828926"/>
          </a:xfrm>
          <a:prstGeom prst="rect">
            <a:avLst/>
          </a:prstGeom>
        </p:spPr>
      </p:pic>
      <p:sp>
        <p:nvSpPr>
          <p:cNvPr id="232" name="타원 231">
            <a:extLst>
              <a:ext uri="{FF2B5EF4-FFF2-40B4-BE49-F238E27FC236}">
                <a16:creationId xmlns:a16="http://schemas.microsoft.com/office/drawing/2014/main" id="{296EB3B6-A3E3-4CAB-8067-69A0F62DACD5}"/>
              </a:ext>
            </a:extLst>
          </p:cNvPr>
          <p:cNvSpPr/>
          <p:nvPr/>
        </p:nvSpPr>
        <p:spPr>
          <a:xfrm>
            <a:off x="4471217" y="4242961"/>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234" name="TextBox 2"/>
          <p:cNvSpPr txBox="1"/>
          <p:nvPr/>
        </p:nvSpPr>
        <p:spPr>
          <a:xfrm>
            <a:off x="2611428" y="2709812"/>
            <a:ext cx="1548822" cy="307778"/>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EA(Exhaust Air)</a:t>
            </a:r>
          </a:p>
        </p:txBody>
      </p:sp>
      <p:sp>
        <p:nvSpPr>
          <p:cNvPr id="282" name="타원 281">
            <a:extLst>
              <a:ext uri="{FF2B5EF4-FFF2-40B4-BE49-F238E27FC236}">
                <a16:creationId xmlns:a16="http://schemas.microsoft.com/office/drawing/2014/main" id="{296EB3B6-A3E3-4CAB-8067-69A0F62DACD5}"/>
              </a:ext>
            </a:extLst>
          </p:cNvPr>
          <p:cNvSpPr/>
          <p:nvPr/>
        </p:nvSpPr>
        <p:spPr>
          <a:xfrm>
            <a:off x="4442614" y="3940469"/>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283" name="타원 282">
            <a:extLst>
              <a:ext uri="{FF2B5EF4-FFF2-40B4-BE49-F238E27FC236}">
                <a16:creationId xmlns:a16="http://schemas.microsoft.com/office/drawing/2014/main" id="{296EB3B6-A3E3-4CAB-8067-69A0F62DACD5}"/>
              </a:ext>
            </a:extLst>
          </p:cNvPr>
          <p:cNvSpPr/>
          <p:nvPr/>
        </p:nvSpPr>
        <p:spPr>
          <a:xfrm>
            <a:off x="4870842" y="4262734"/>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284" name="TextBox 2"/>
          <p:cNvSpPr txBox="1"/>
          <p:nvPr/>
        </p:nvSpPr>
        <p:spPr>
          <a:xfrm>
            <a:off x="5852661" y="4235789"/>
            <a:ext cx="1489511" cy="307777"/>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RA(Return Air)</a:t>
            </a:r>
          </a:p>
        </p:txBody>
      </p:sp>
      <p:sp>
        <p:nvSpPr>
          <p:cNvPr id="292" name="TextBox 2"/>
          <p:cNvSpPr txBox="1"/>
          <p:nvPr/>
        </p:nvSpPr>
        <p:spPr>
          <a:xfrm>
            <a:off x="5892187" y="2765688"/>
            <a:ext cx="1449436" cy="307777"/>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SA(Supply Air)</a:t>
            </a:r>
          </a:p>
        </p:txBody>
      </p:sp>
      <p:sp>
        <p:nvSpPr>
          <p:cNvPr id="293" name="TextBox 2"/>
          <p:cNvSpPr txBox="1"/>
          <p:nvPr/>
        </p:nvSpPr>
        <p:spPr>
          <a:xfrm>
            <a:off x="2611428" y="4256142"/>
            <a:ext cx="1577676" cy="307777"/>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rgbClr val="262626"/>
                </a:solidFill>
                <a:latin typeface="Arial" panose="020B0604020202020204" pitchFamily="34" charset="0"/>
                <a:ea typeface="LG스마트체 SemiBold" pitchFamily="50" charset="-127"/>
                <a:cs typeface="Arial" panose="020B0604020202020204" pitchFamily="34" charset="0"/>
              </a:rPr>
              <a:t>OA(Outdoor Air)</a:t>
            </a:r>
          </a:p>
        </p:txBody>
      </p:sp>
      <p:grpSp>
        <p:nvGrpSpPr>
          <p:cNvPr id="294" name="그룹 293"/>
          <p:cNvGrpSpPr/>
          <p:nvPr/>
        </p:nvGrpSpPr>
        <p:grpSpPr>
          <a:xfrm>
            <a:off x="4993479" y="1764132"/>
            <a:ext cx="2670924" cy="308613"/>
            <a:chOff x="7100653" y="3605813"/>
            <a:chExt cx="3028284" cy="349904"/>
          </a:xfrm>
        </p:grpSpPr>
        <p:sp>
          <p:nvSpPr>
            <p:cNvPr id="318" name="TextBox 2"/>
            <p:cNvSpPr txBox="1"/>
            <p:nvPr/>
          </p:nvSpPr>
          <p:spPr>
            <a:xfrm>
              <a:off x="7100653" y="3605813"/>
              <a:ext cx="3028284" cy="348956"/>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chemeClr val="bg1">
                      <a:lumMod val="50000"/>
                    </a:schemeClr>
                  </a:solidFill>
                  <a:latin typeface="Arial" panose="020B0604020202020204" pitchFamily="34" charset="0"/>
                  <a:ea typeface="LG스마트체 SemiBold" pitchFamily="50" charset="-127"/>
                  <a:cs typeface="Arial" panose="020B0604020202020204" pitchFamily="34" charset="0"/>
                </a:rPr>
                <a:t>Dual Laser Fine Dust Sensor </a:t>
              </a:r>
            </a:p>
          </p:txBody>
        </p:sp>
        <p:cxnSp>
          <p:nvCxnSpPr>
            <p:cNvPr id="319" name="직선 연결선 318"/>
            <p:cNvCxnSpPr/>
            <p:nvPr/>
          </p:nvCxnSpPr>
          <p:spPr>
            <a:xfrm>
              <a:off x="7182153" y="3955717"/>
              <a:ext cx="2897318"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295" name="그룹 294"/>
          <p:cNvGrpSpPr/>
          <p:nvPr/>
        </p:nvGrpSpPr>
        <p:grpSpPr>
          <a:xfrm>
            <a:off x="4644296" y="5158270"/>
            <a:ext cx="999707" cy="326886"/>
            <a:chOff x="8320386" y="3605813"/>
            <a:chExt cx="1133464" cy="370622"/>
          </a:xfrm>
        </p:grpSpPr>
        <p:sp>
          <p:nvSpPr>
            <p:cNvPr id="316" name="TextBox 2"/>
            <p:cNvSpPr txBox="1"/>
            <p:nvPr/>
          </p:nvSpPr>
          <p:spPr>
            <a:xfrm>
              <a:off x="8408435" y="3605813"/>
              <a:ext cx="1045415" cy="348956"/>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latin typeface="Arial" panose="020B0604020202020204" pitchFamily="34" charset="0"/>
                  <a:ea typeface="LG스마트체 SemiBold" pitchFamily="50" charset="-127"/>
                  <a:cs typeface="Arial" panose="020B0604020202020204" pitchFamily="34" charset="0"/>
                </a:rPr>
                <a:t>Pre-filter</a:t>
              </a:r>
            </a:p>
          </p:txBody>
        </p:sp>
        <p:cxnSp>
          <p:nvCxnSpPr>
            <p:cNvPr id="317" name="직선 연결선 316"/>
            <p:cNvCxnSpPr/>
            <p:nvPr/>
          </p:nvCxnSpPr>
          <p:spPr>
            <a:xfrm>
              <a:off x="8320386" y="3976435"/>
              <a:ext cx="1071809"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299" name="그룹 298"/>
          <p:cNvGrpSpPr/>
          <p:nvPr/>
        </p:nvGrpSpPr>
        <p:grpSpPr>
          <a:xfrm>
            <a:off x="2202832" y="5167969"/>
            <a:ext cx="1568578" cy="307777"/>
            <a:chOff x="8214505" y="3605813"/>
            <a:chExt cx="1778449" cy="348956"/>
          </a:xfrm>
        </p:grpSpPr>
        <p:sp>
          <p:nvSpPr>
            <p:cNvPr id="314" name="TextBox 2"/>
            <p:cNvSpPr txBox="1"/>
            <p:nvPr/>
          </p:nvSpPr>
          <p:spPr>
            <a:xfrm>
              <a:off x="8214505" y="3605813"/>
              <a:ext cx="1685167" cy="348956"/>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latin typeface="Arial" panose="020B0604020202020204" pitchFamily="34" charset="0"/>
                  <a:ea typeface="LG스마트체 SemiBold" pitchFamily="50" charset="-127"/>
                  <a:cs typeface="Arial" panose="020B0604020202020204" pitchFamily="34" charset="0"/>
                </a:rPr>
                <a:t>Fine Dust Filter</a:t>
              </a:r>
            </a:p>
          </p:txBody>
        </p:sp>
        <p:cxnSp>
          <p:nvCxnSpPr>
            <p:cNvPr id="315" name="직선 연결선 314"/>
            <p:cNvCxnSpPr/>
            <p:nvPr/>
          </p:nvCxnSpPr>
          <p:spPr>
            <a:xfrm>
              <a:off x="8214505" y="3954769"/>
              <a:ext cx="1778449" cy="0"/>
            </a:xfrm>
            <a:prstGeom prst="line">
              <a:avLst/>
            </a:prstGeom>
            <a:noFill/>
            <a:ln w="12700" cap="flat" cmpd="sng" algn="ctr">
              <a:solidFill>
                <a:sysClr val="windowText" lastClr="000000">
                  <a:lumMod val="85000"/>
                  <a:lumOff val="15000"/>
                </a:sysClr>
              </a:solidFill>
              <a:prstDash val="solid"/>
              <a:miter lim="800000"/>
            </a:ln>
            <a:effectLst/>
          </p:spPr>
        </p:cxnSp>
      </p:grpSp>
      <p:cxnSp>
        <p:nvCxnSpPr>
          <p:cNvPr id="300" name="직선 연결선 299"/>
          <p:cNvCxnSpPr/>
          <p:nvPr/>
        </p:nvCxnSpPr>
        <p:spPr>
          <a:xfrm flipV="1">
            <a:off x="4648679" y="4277729"/>
            <a:ext cx="2399" cy="1213770"/>
          </a:xfrm>
          <a:prstGeom prst="line">
            <a:avLst/>
          </a:prstGeom>
          <a:noFill/>
          <a:ln w="12700" cap="flat" cmpd="sng" algn="ctr">
            <a:solidFill>
              <a:sysClr val="windowText" lastClr="000000">
                <a:lumMod val="85000"/>
                <a:lumOff val="15000"/>
              </a:sysClr>
            </a:solidFill>
            <a:prstDash val="solid"/>
            <a:miter lim="800000"/>
          </a:ln>
          <a:effectLst/>
        </p:spPr>
      </p:cxnSp>
      <p:cxnSp>
        <p:nvCxnSpPr>
          <p:cNvPr id="301" name="직선 연결선 300"/>
          <p:cNvCxnSpPr/>
          <p:nvPr/>
        </p:nvCxnSpPr>
        <p:spPr>
          <a:xfrm flipV="1">
            <a:off x="4914511" y="4332961"/>
            <a:ext cx="0" cy="366398"/>
          </a:xfrm>
          <a:prstGeom prst="line">
            <a:avLst/>
          </a:prstGeom>
          <a:noFill/>
          <a:ln w="12700" cap="flat" cmpd="sng" algn="ctr">
            <a:solidFill>
              <a:sysClr val="windowText" lastClr="000000">
                <a:lumMod val="85000"/>
                <a:lumOff val="15000"/>
              </a:sysClr>
            </a:solidFill>
            <a:prstDash val="solid"/>
            <a:miter lim="800000"/>
          </a:ln>
          <a:effectLst/>
        </p:spPr>
      </p:cxnSp>
      <p:cxnSp>
        <p:nvCxnSpPr>
          <p:cNvPr id="302" name="직선 연결선 301"/>
          <p:cNvCxnSpPr/>
          <p:nvPr/>
        </p:nvCxnSpPr>
        <p:spPr>
          <a:xfrm>
            <a:off x="4960842" y="2782039"/>
            <a:ext cx="358729"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03" name="직선 연결선 302"/>
          <p:cNvCxnSpPr>
            <a:endCxn id="282" idx="0"/>
          </p:cNvCxnSpPr>
          <p:nvPr/>
        </p:nvCxnSpPr>
        <p:spPr>
          <a:xfrm flipV="1">
            <a:off x="3762134" y="3940469"/>
            <a:ext cx="725480" cy="1535278"/>
          </a:xfrm>
          <a:prstGeom prst="line">
            <a:avLst/>
          </a:prstGeom>
          <a:noFill/>
          <a:ln w="12700" cap="flat" cmpd="sng" algn="ctr">
            <a:solidFill>
              <a:sysClr val="windowText" lastClr="000000">
                <a:lumMod val="85000"/>
                <a:lumOff val="15000"/>
              </a:sysClr>
            </a:solidFill>
            <a:prstDash val="solid"/>
            <a:miter lim="800000"/>
          </a:ln>
          <a:effectLst/>
        </p:spPr>
      </p:cxnSp>
      <p:sp>
        <p:nvSpPr>
          <p:cNvPr id="304" name="타원 303">
            <a:extLst>
              <a:ext uri="{FF2B5EF4-FFF2-40B4-BE49-F238E27FC236}">
                <a16:creationId xmlns:a16="http://schemas.microsoft.com/office/drawing/2014/main" id="{296EB3B6-A3E3-4CAB-8067-69A0F62DACD5}"/>
              </a:ext>
            </a:extLst>
          </p:cNvPr>
          <p:cNvSpPr/>
          <p:nvPr/>
        </p:nvSpPr>
        <p:spPr>
          <a:xfrm>
            <a:off x="5274571" y="3593401"/>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sp>
        <p:nvSpPr>
          <p:cNvPr id="305" name="타원 304">
            <a:extLst>
              <a:ext uri="{FF2B5EF4-FFF2-40B4-BE49-F238E27FC236}">
                <a16:creationId xmlns:a16="http://schemas.microsoft.com/office/drawing/2014/main" id="{296EB3B6-A3E3-4CAB-8067-69A0F62DACD5}"/>
              </a:ext>
            </a:extLst>
          </p:cNvPr>
          <p:cNvSpPr/>
          <p:nvPr/>
        </p:nvSpPr>
        <p:spPr>
          <a:xfrm>
            <a:off x="4591835" y="4259931"/>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cxnSp>
        <p:nvCxnSpPr>
          <p:cNvPr id="306" name="직선 연결선 305"/>
          <p:cNvCxnSpPr>
            <a:endCxn id="304" idx="0"/>
          </p:cNvCxnSpPr>
          <p:nvPr/>
        </p:nvCxnSpPr>
        <p:spPr>
          <a:xfrm>
            <a:off x="5319571" y="2782039"/>
            <a:ext cx="0" cy="811362"/>
          </a:xfrm>
          <a:prstGeom prst="line">
            <a:avLst/>
          </a:prstGeom>
          <a:noFill/>
          <a:ln w="12700" cap="flat" cmpd="sng" algn="ctr">
            <a:solidFill>
              <a:sysClr val="windowText" lastClr="000000">
                <a:lumMod val="85000"/>
                <a:lumOff val="15000"/>
              </a:sysClr>
            </a:solidFill>
            <a:prstDash val="solid"/>
            <a:miter lim="800000"/>
          </a:ln>
          <a:effectLst/>
        </p:spPr>
      </p:cxnSp>
      <p:sp>
        <p:nvSpPr>
          <p:cNvPr id="307" name="타원 306">
            <a:extLst>
              <a:ext uri="{FF2B5EF4-FFF2-40B4-BE49-F238E27FC236}">
                <a16:creationId xmlns:a16="http://schemas.microsoft.com/office/drawing/2014/main" id="{296EB3B6-A3E3-4CAB-8067-69A0F62DACD5}"/>
              </a:ext>
            </a:extLst>
          </p:cNvPr>
          <p:cNvSpPr/>
          <p:nvPr/>
        </p:nvSpPr>
        <p:spPr>
          <a:xfrm>
            <a:off x="5574983" y="3985469"/>
            <a:ext cx="90000" cy="90000"/>
          </a:xfrm>
          <a:prstGeom prst="ellipse">
            <a:avLst/>
          </a:prstGeom>
          <a:solidFill>
            <a:sysClr val="windowText" lastClr="00000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ko-KR" altLang="en-US" sz="2400" kern="0" dirty="0">
              <a:solidFill>
                <a:prstClr val="white"/>
              </a:solidFill>
              <a:latin typeface="LG스마트체 Bold" panose="020B0600000101010101" pitchFamily="50" charset="-127"/>
              <a:ea typeface="LG스마트체 Light" panose="020B0600000101010101" pitchFamily="50" charset="-127"/>
            </a:endParaRPr>
          </a:p>
        </p:txBody>
      </p:sp>
      <p:cxnSp>
        <p:nvCxnSpPr>
          <p:cNvPr id="308" name="직선 연결선 307"/>
          <p:cNvCxnSpPr>
            <a:endCxn id="307" idx="5"/>
          </p:cNvCxnSpPr>
          <p:nvPr/>
        </p:nvCxnSpPr>
        <p:spPr>
          <a:xfrm flipH="1" flipV="1">
            <a:off x="5651803" y="4062289"/>
            <a:ext cx="677138" cy="1348142"/>
          </a:xfrm>
          <a:prstGeom prst="line">
            <a:avLst/>
          </a:prstGeom>
          <a:noFill/>
          <a:ln w="12700" cap="flat" cmpd="sng" algn="ctr">
            <a:solidFill>
              <a:sysClr val="windowText" lastClr="000000">
                <a:lumMod val="85000"/>
                <a:lumOff val="15000"/>
              </a:sysClr>
            </a:solidFill>
            <a:prstDash val="solid"/>
            <a:miter lim="800000"/>
          </a:ln>
          <a:effectLst/>
        </p:spPr>
      </p:cxnSp>
      <p:cxnSp>
        <p:nvCxnSpPr>
          <p:cNvPr id="309" name="직선 연결선 308"/>
          <p:cNvCxnSpPr>
            <a:endCxn id="232" idx="7"/>
          </p:cNvCxnSpPr>
          <p:nvPr/>
        </p:nvCxnSpPr>
        <p:spPr>
          <a:xfrm flipH="1">
            <a:off x="4548037" y="2072745"/>
            <a:ext cx="585795" cy="2183396"/>
          </a:xfrm>
          <a:prstGeom prst="line">
            <a:avLst/>
          </a:prstGeom>
          <a:noFill/>
          <a:ln w="12700" cap="flat" cmpd="sng" algn="ctr">
            <a:solidFill>
              <a:sysClr val="windowText" lastClr="000000">
                <a:lumMod val="85000"/>
                <a:lumOff val="15000"/>
              </a:sysClr>
            </a:solidFill>
            <a:prstDash val="solid"/>
            <a:miter lim="800000"/>
          </a:ln>
          <a:effectLst/>
        </p:spPr>
      </p:cxnSp>
      <p:cxnSp>
        <p:nvCxnSpPr>
          <p:cNvPr id="310" name="직선 연결선 309"/>
          <p:cNvCxnSpPr/>
          <p:nvPr/>
        </p:nvCxnSpPr>
        <p:spPr>
          <a:xfrm>
            <a:off x="4648679" y="4699359"/>
            <a:ext cx="265832" cy="0"/>
          </a:xfrm>
          <a:prstGeom prst="line">
            <a:avLst/>
          </a:prstGeom>
          <a:noFill/>
          <a:ln w="12700" cap="flat" cmpd="sng" algn="ctr">
            <a:solidFill>
              <a:sysClr val="windowText" lastClr="000000">
                <a:lumMod val="85000"/>
                <a:lumOff val="15000"/>
              </a:sysClr>
            </a:solidFill>
            <a:prstDash val="solid"/>
            <a:miter lim="800000"/>
          </a:ln>
          <a:effectLst/>
        </p:spPr>
      </p:cxnSp>
      <p:grpSp>
        <p:nvGrpSpPr>
          <p:cNvPr id="311" name="그룹 310"/>
          <p:cNvGrpSpPr/>
          <p:nvPr/>
        </p:nvGrpSpPr>
        <p:grpSpPr>
          <a:xfrm>
            <a:off x="6334311" y="5102653"/>
            <a:ext cx="1696514" cy="308613"/>
            <a:chOff x="8155969" y="3605813"/>
            <a:chExt cx="1923501" cy="349904"/>
          </a:xfrm>
        </p:grpSpPr>
        <p:sp>
          <p:nvSpPr>
            <p:cNvPr id="312" name="TextBox 2"/>
            <p:cNvSpPr txBox="1"/>
            <p:nvPr/>
          </p:nvSpPr>
          <p:spPr>
            <a:xfrm>
              <a:off x="8630708" y="3605813"/>
              <a:ext cx="1372560" cy="348956"/>
            </a:xfrm>
            <a:prstGeom prst="rect">
              <a:avLst/>
            </a:prstGeom>
            <a:noFill/>
          </p:spPr>
          <p:txBody>
            <a:bodyPr wrap="none"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defRPr/>
              </a:pPr>
              <a:r>
                <a:rPr lang="en-US" altLang="ko-KR" sz="1400" b="1" kern="0" dirty="0">
                  <a:ln>
                    <a:solidFill>
                      <a:srgbClr val="4472C4">
                        <a:alpha val="0"/>
                      </a:srgbClr>
                    </a:solidFill>
                  </a:ln>
                  <a:solidFill>
                    <a:schemeClr val="bg1">
                      <a:lumMod val="50000"/>
                    </a:schemeClr>
                  </a:solidFill>
                  <a:latin typeface="Arial" panose="020B0604020202020204" pitchFamily="34" charset="0"/>
                  <a:ea typeface="LG스마트체 SemiBold" pitchFamily="50" charset="-127"/>
                  <a:cs typeface="Arial" panose="020B0604020202020204" pitchFamily="34" charset="0"/>
                </a:rPr>
                <a:t>CO</a:t>
              </a:r>
              <a:r>
                <a:rPr lang="en-US" altLang="ko-KR" sz="1400" b="1" kern="0" baseline="-25000" dirty="0">
                  <a:ln>
                    <a:solidFill>
                      <a:srgbClr val="4472C4">
                        <a:alpha val="0"/>
                      </a:srgbClr>
                    </a:solidFill>
                  </a:ln>
                  <a:solidFill>
                    <a:schemeClr val="bg1">
                      <a:lumMod val="50000"/>
                    </a:schemeClr>
                  </a:solidFill>
                  <a:latin typeface="Arial" panose="020B0604020202020204" pitchFamily="34" charset="0"/>
                  <a:ea typeface="LG스마트체 SemiBold" pitchFamily="50" charset="-127"/>
                  <a:cs typeface="Arial" panose="020B0604020202020204" pitchFamily="34" charset="0"/>
                </a:rPr>
                <a:t>2</a:t>
              </a:r>
              <a:r>
                <a:rPr lang="en-US" altLang="ko-KR" sz="1400" b="1" kern="0" dirty="0">
                  <a:ln>
                    <a:solidFill>
                      <a:srgbClr val="4472C4">
                        <a:alpha val="0"/>
                      </a:srgbClr>
                    </a:solidFill>
                  </a:ln>
                  <a:solidFill>
                    <a:schemeClr val="bg1">
                      <a:lumMod val="50000"/>
                    </a:schemeClr>
                  </a:solidFill>
                  <a:latin typeface="Arial" panose="020B0604020202020204" pitchFamily="34" charset="0"/>
                  <a:ea typeface="LG스마트체 SemiBold" pitchFamily="50" charset="-127"/>
                  <a:cs typeface="Arial" panose="020B0604020202020204" pitchFamily="34" charset="0"/>
                </a:rPr>
                <a:t> Sensor</a:t>
              </a:r>
            </a:p>
          </p:txBody>
        </p:sp>
        <p:cxnSp>
          <p:nvCxnSpPr>
            <p:cNvPr id="313" name="직선 연결선 312"/>
            <p:cNvCxnSpPr/>
            <p:nvPr/>
          </p:nvCxnSpPr>
          <p:spPr>
            <a:xfrm>
              <a:off x="8155969" y="3955717"/>
              <a:ext cx="1923501" cy="0"/>
            </a:xfrm>
            <a:prstGeom prst="line">
              <a:avLst/>
            </a:prstGeom>
            <a:noFill/>
            <a:ln w="12700" cap="flat" cmpd="sng" algn="ctr">
              <a:solidFill>
                <a:sysClr val="windowText" lastClr="000000">
                  <a:lumMod val="85000"/>
                  <a:lumOff val="15000"/>
                </a:sysClr>
              </a:solidFill>
              <a:prstDash val="solid"/>
              <a:miter lim="800000"/>
            </a:ln>
            <a:effectLst/>
          </p:spPr>
        </p:cxnSp>
      </p:grpSp>
    </p:spTree>
    <p:extLst>
      <p:ext uri="{BB962C8B-B14F-4D97-AF65-F5344CB8AC3E}">
        <p14:creationId xmlns:p14="http://schemas.microsoft.com/office/powerpoint/2010/main" val="2414664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pFhbindr0OQ22LqhRK21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QoPiM_.FUCmoE.G4Kcx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O8NXofZ4E6bpMT_Vqcx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RiOYBvGE0O4VaXAQJ2m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Fp48co8J06BYAaxPGjw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xboCVNm20mK4Ay3nzql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QN5zDYzmEu7b__CtWL3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n58LC099Ue1K3Tj8rd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coy5H45EOK6m8ri8GH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fdhRU1QE0SD_zOJ2l5H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QRIVQeb4UiEDOgKyykD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VMhq0nESEeVGu5_kzPn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0xxAqdkf0.1OVBKgXjt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0YBSyfriEifgIvKG6v3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PZ68NGjJECyijdK5Bsv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ke9vCv2d0mdTxmML_2c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nvyjGPeGU60Saop.QrM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Mh8rxNUKZQ4q5GfTyqQ"/>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1">
              <a:lumMod val="50000"/>
              <a:lumOff val="50000"/>
            </a:schemeClr>
          </a:solidFill>
          <a:prstDash val="dash"/>
          <a:miter lim="800000"/>
          <a:headEnd/>
          <a:tailEnd/>
        </a:ln>
      </a:spPr>
      <a:bodyPr rtlCol="0" anchor="ctr"/>
      <a:lstStyle>
        <a:defPPr algn="ctr">
          <a:defRPr/>
        </a:defPPr>
      </a:lstStyle>
    </a:spDef>
    <a:lnDef>
      <a:spPr>
        <a:noFill/>
        <a:ln w="12700">
          <a:solidFill>
            <a:schemeClr val="tx1">
              <a:lumMod val="50000"/>
              <a:lumOff val="50000"/>
            </a:schemeClr>
          </a:solidFill>
          <a:prstDash val="solid"/>
          <a:headEnd type="oval" w="sm" len="sm"/>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none" rtlCol="0">
        <a:spAutoFit/>
      </a:bodyPr>
      <a:lstStyle>
        <a:defPPr>
          <a:defRPr sz="10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문서" ma:contentTypeID="0x0101005BE5206FDE32CD45BD3F8FC7F420F5C9" ma:contentTypeVersion="4" ma:contentTypeDescription="새 문서를 만듭니다." ma:contentTypeScope="" ma:versionID="a4e674a2187303d81057d97ce1d1f16a">
  <xsd:schema xmlns:xsd="http://www.w3.org/2001/XMLSchema" xmlns:xs="http://www.w3.org/2001/XMLSchema" xmlns:p="http://schemas.microsoft.com/office/2006/metadata/properties" xmlns:ns2="87964a56-ed21-4f78-b06e-7b9090a33705" targetNamespace="http://schemas.microsoft.com/office/2006/metadata/properties" ma:root="true" ma:fieldsID="89b69b846fa2908dbca24cfa77627473" ns2:_="">
    <xsd:import namespace="87964a56-ed21-4f78-b06e-7b9090a337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4a56-ed21-4f78-b06e-7b9090a337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콘텐츠 형식"/>
        <xsd:element ref="dc:title" minOccurs="0" maxOccurs="1" ma:index="4" ma:displayName="제목"/>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A517D4E-C69D-4F94-961B-D7C039EB7E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964a56-ed21-4f78-b06e-7b9090a337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3DD51A-4858-4E2B-909E-B83DD68C4632}">
  <ds:schemaRefs>
    <ds:schemaRef ds:uri="http://schemas.microsoft.com/sharepoint/v3/contenttype/forms"/>
  </ds:schemaRefs>
</ds:datastoreItem>
</file>

<file path=customXml/itemProps3.xml><?xml version="1.0" encoding="utf-8"?>
<ds:datastoreItem xmlns:ds="http://schemas.openxmlformats.org/officeDocument/2006/customXml" ds:itemID="{6A18C509-CF32-4903-87FB-EC75668856A9}">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72191</TotalTime>
  <Words>2030</Words>
  <Application>Microsoft Office PowerPoint</Application>
  <PresentationFormat>A4 Paper (210x297 mm)</PresentationFormat>
  <Paragraphs>413</Paragraphs>
  <Slides>38</Slides>
  <Notes>2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8</vt:i4>
      </vt:variant>
    </vt:vector>
  </HeadingPairs>
  <TitlesOfParts>
    <vt:vector size="46" baseType="lpstr">
      <vt:lpstr>Arial</vt:lpstr>
      <vt:lpstr>LG스마트체 Regular</vt:lpstr>
      <vt:lpstr>맑은 고딕</vt:lpstr>
      <vt:lpstr>Calibri</vt:lpstr>
      <vt:lpstr>굴림</vt:lpstr>
      <vt:lpstr>LG스마트체 Bold</vt:lpstr>
      <vt:lpstr>Arial Narrow</vt:lpstr>
      <vt:lpstr>4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전 윤숙</dc:creator>
  <cp:lastModifiedBy>Edouard Ferrier/Team Leader/LGEUS CAC Product Support(ed.ferrier@lge.com)</cp:lastModifiedBy>
  <cp:revision>1177</cp:revision>
  <cp:lastPrinted>2021-12-20T02:09:06Z</cp:lastPrinted>
  <dcterms:created xsi:type="dcterms:W3CDTF">2021-02-18T04:53:56Z</dcterms:created>
  <dcterms:modified xsi:type="dcterms:W3CDTF">2023-01-06T18: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E5206FDE32CD45BD3F8FC7F420F5C9</vt:lpwstr>
  </property>
</Properties>
</file>